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685" r:id="rId3"/>
    <p:sldMasterId id="2147483697" r:id="rId4"/>
    <p:sldMasterId id="2147483727" r:id="rId5"/>
  </p:sldMasterIdLst>
  <p:notesMasterIdLst>
    <p:notesMasterId r:id="rId23"/>
  </p:notesMasterIdLst>
  <p:sldIdLst>
    <p:sldId id="269" r:id="rId6"/>
    <p:sldId id="280" r:id="rId7"/>
    <p:sldId id="301" r:id="rId8"/>
    <p:sldId id="303" r:id="rId9"/>
    <p:sldId id="302" r:id="rId10"/>
    <p:sldId id="304" r:id="rId11"/>
    <p:sldId id="305" r:id="rId12"/>
    <p:sldId id="307" r:id="rId13"/>
    <p:sldId id="308" r:id="rId14"/>
    <p:sldId id="310" r:id="rId15"/>
    <p:sldId id="309" r:id="rId16"/>
    <p:sldId id="306" r:id="rId17"/>
    <p:sldId id="312" r:id="rId18"/>
    <p:sldId id="311" r:id="rId19"/>
    <p:sldId id="316" r:id="rId20"/>
    <p:sldId id="317" r:id="rId21"/>
    <p:sldId id="315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892" autoAdjust="0"/>
    <p:restoredTop sz="93341" autoAdjust="0"/>
  </p:normalViewPr>
  <p:slideViewPr>
    <p:cSldViewPr snapToGrid="0">
      <p:cViewPr varScale="1">
        <p:scale>
          <a:sx n="103" d="100"/>
          <a:sy n="103" d="100"/>
        </p:scale>
        <p:origin x="114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3C1C6E-E7D9-43A4-8406-1BC8F9236DB6}" type="datetimeFigureOut">
              <a:rPr lang="en-GB" smtClean="0"/>
              <a:t>13/1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DF04AB-65C2-4B0A-B9CC-EF7FBB381B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0177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9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20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19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 – AVIV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viva word pattern with caucasian family">
            <a:extLst>
              <a:ext uri="{FF2B5EF4-FFF2-40B4-BE49-F238E27FC236}">
                <a16:creationId xmlns:a16="http://schemas.microsoft.com/office/drawing/2014/main" id="{D7E9D27F-98A3-F040-9A99-119F59ADC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30DD394C-467F-654C-AF8A-08CA1300C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97114"/>
            <a:ext cx="5580062" cy="186956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lnSpc>
                <a:spcPct val="100000"/>
              </a:lnSpc>
              <a:defRPr lang="en-GB" sz="4650" b="1" i="0" baseline="0" dirty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marL="0" lvl="0">
              <a:lnSpc>
                <a:spcPts val="4780"/>
              </a:lnSpc>
            </a:pPr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9F17C3-5FB7-A948-B3DA-FFCC81E8C1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767" y="5754461"/>
            <a:ext cx="3817937" cy="784748"/>
          </a:xfrm>
        </p:spPr>
        <p:txBody>
          <a:bodyPr lIns="0" tIns="0" rIns="0" bIns="0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6022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– Pattern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ack business women looking out of a window in a new property">
            <a:extLst>
              <a:ext uri="{FF2B5EF4-FFF2-40B4-BE49-F238E27FC236}">
                <a16:creationId xmlns:a16="http://schemas.microsoft.com/office/drawing/2014/main" id="{69A31BD4-3458-F140-93BF-FCD7DADF33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30DD394C-467F-654C-AF8A-08CA1300C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840923"/>
            <a:ext cx="4178719" cy="2655203"/>
          </a:xfrm>
          <a:prstGeom prst="rect">
            <a:avLst/>
          </a:prstGeom>
          <a:solidFill>
            <a:schemeClr val="bg2"/>
          </a:solidFill>
        </p:spPr>
        <p:txBody>
          <a:bodyPr vert="horz" lIns="360000" tIns="360000" rIns="360000" bIns="360000" rtlCol="0" anchor="t" anchorCtr="0">
            <a:noAutofit/>
          </a:bodyPr>
          <a:lstStyle>
            <a:lvl1pPr>
              <a:lnSpc>
                <a:spcPct val="100000"/>
              </a:lnSpc>
              <a:defRPr lang="en-GB" sz="4650" b="1" i="0" baseline="0" dirty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marL="0" lvl="0">
              <a:lnSpc>
                <a:spcPts val="4780"/>
              </a:lnSpc>
            </a:pPr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1978684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 Pattern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aucasian women working at a laptop, whilst eating noodles from cardboard takeaway tub">
            <a:extLst>
              <a:ext uri="{FF2B5EF4-FFF2-40B4-BE49-F238E27FC236}">
                <a16:creationId xmlns:a16="http://schemas.microsoft.com/office/drawing/2014/main" id="{07FE7F2F-BE47-4A04-9303-A91DF41203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30DD394C-467F-654C-AF8A-08CA1300C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840923"/>
            <a:ext cx="4178719" cy="2655203"/>
          </a:xfrm>
          <a:prstGeom prst="rect">
            <a:avLst/>
          </a:prstGeom>
          <a:solidFill>
            <a:schemeClr val="tx1"/>
          </a:solidFill>
        </p:spPr>
        <p:txBody>
          <a:bodyPr vert="horz" lIns="360000" tIns="360000" rIns="360000" bIns="360000" rtlCol="0" anchor="t" anchorCtr="0">
            <a:noAutofit/>
          </a:bodyPr>
          <a:lstStyle>
            <a:lvl1pPr>
              <a:lnSpc>
                <a:spcPct val="100000"/>
              </a:lnSpc>
              <a:defRPr lang="en-GB" sz="4650" b="1" i="0" baseline="0" dirty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marL="0" lvl="0">
              <a:lnSpc>
                <a:spcPts val="4780"/>
              </a:lnSpc>
            </a:pPr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2247587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– Pattern graphic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089EB8-5980-2A47-91B9-E6CDD158F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4524"/>
          </a:xfrm>
          <a:prstGeom prst="rect">
            <a:avLst/>
          </a:prstGeom>
        </p:spPr>
      </p:pic>
      <p:pic>
        <p:nvPicPr>
          <p:cNvPr id="11" name="Picture 10" descr="Aviva logo">
            <a:extLst>
              <a:ext uri="{FF2B5EF4-FFF2-40B4-BE49-F238E27FC236}">
                <a16:creationId xmlns:a16="http://schemas.microsoft.com/office/drawing/2014/main" id="{4579562C-F977-448F-A62C-864B8A1912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94619"/>
            <a:ext cx="1293312" cy="1369905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845582A3-6EB8-ED4A-BFC6-DD776310B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2168525"/>
            <a:ext cx="4929519" cy="2032429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>
              <a:lnSpc>
                <a:spcPct val="100000"/>
              </a:lnSpc>
              <a:defRPr sz="4650" b="1" i="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DD7541-A480-CA48-92AA-9E0209AFBBE9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57033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– Pattern graphic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089EB8-5980-2A47-91B9-E6CDD158F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64524"/>
          </a:xfrm>
          <a:prstGeom prst="rect">
            <a:avLst/>
          </a:prstGeom>
        </p:spPr>
      </p:pic>
      <p:pic>
        <p:nvPicPr>
          <p:cNvPr id="11" name="Picture 10" descr="Aviva logo">
            <a:extLst>
              <a:ext uri="{FF2B5EF4-FFF2-40B4-BE49-F238E27FC236}">
                <a16:creationId xmlns:a16="http://schemas.microsoft.com/office/drawing/2014/main" id="{4579562C-F977-448F-A62C-864B8A1912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94619"/>
            <a:ext cx="1293312" cy="1369905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845582A3-6EB8-ED4A-BFC6-DD776310B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2168525"/>
            <a:ext cx="4929519" cy="2032429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>
              <a:lnSpc>
                <a:spcPct val="100000"/>
              </a:lnSpc>
              <a:defRPr sz="465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FE84F3-2E1A-8D4F-8E3D-4810E7BAA31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59559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– Pattern graphic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089EB8-5980-2A47-91B9-E6CDD158F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4524"/>
          </a:xfrm>
          <a:prstGeom prst="rect">
            <a:avLst/>
          </a:prstGeom>
        </p:spPr>
      </p:pic>
      <p:pic>
        <p:nvPicPr>
          <p:cNvPr id="11" name="Picture 10" descr="Aviva logo">
            <a:extLst>
              <a:ext uri="{FF2B5EF4-FFF2-40B4-BE49-F238E27FC236}">
                <a16:creationId xmlns:a16="http://schemas.microsoft.com/office/drawing/2014/main" id="{4579562C-F977-448F-A62C-864B8A1912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94619"/>
            <a:ext cx="1293312" cy="1369905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845582A3-6EB8-ED4A-BFC6-DD776310B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2168525"/>
            <a:ext cx="4929519" cy="2032429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>
              <a:lnSpc>
                <a:spcPct val="100000"/>
              </a:lnSpc>
              <a:defRPr sz="465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DFF439-4A75-EF40-B328-94FC6AF5425D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9558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–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24002E4-EE00-8B4F-9A66-CB80421FFF17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1D9605-3DDE-B643-B09A-A367A1644327}"/>
              </a:ext>
            </a:extLst>
          </p:cNvPr>
          <p:cNvSpPr/>
          <p:nvPr/>
        </p:nvSpPr>
        <p:spPr>
          <a:xfrm>
            <a:off x="-1" y="0"/>
            <a:ext cx="12192001" cy="10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E7ADFA-73B8-C744-B055-3B5BD3F2325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1800000"/>
            <a:ext cx="3657600" cy="43211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aseline="0"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en-GB" dirty="0"/>
              <a:t>Insert image here</a:t>
            </a:r>
          </a:p>
        </p:txBody>
      </p:sp>
      <p:sp>
        <p:nvSpPr>
          <p:cNvPr id="14" name="Title 9">
            <a:extLst>
              <a:ext uri="{FF2B5EF4-FFF2-40B4-BE49-F238E27FC236}">
                <a16:creationId xmlns:a16="http://schemas.microsoft.com/office/drawing/2014/main" id="{8B407AB6-2FD0-EC43-93F8-D4F0955CB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61952" y="1800000"/>
            <a:ext cx="5152350" cy="2032429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>
              <a:lnSpc>
                <a:spcPct val="100000"/>
              </a:lnSpc>
              <a:defRPr sz="4650" b="1" i="0" baseline="0">
                <a:solidFill>
                  <a:schemeClr val="tx2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996537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386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1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BD756E6-52FD-4B95-BAC1-87C49FA73508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875B9AE-7143-A943-889E-8B2CD2E633F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66226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E304CCC7-9813-204B-BC59-5DF046AEB6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6226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8E3735C-48F4-CB4C-8DDB-A748BE26E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6578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2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A13E19-4FD2-48AF-8B73-7BC14A2CE621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A6ECB79-BAF5-1A47-8824-A5F2ADC883D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8CB86C1-61DA-7F43-8D6F-275B5B809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31890BAC-9687-104A-889B-5902CC289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2172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3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9695AC4-96FF-42A5-8EB9-E5A0CEDAA2F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875B9AE-7143-A943-889E-8B2CD2E633F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248226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E304CCC7-9813-204B-BC59-5DF046AEB6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48226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B90CC7C-F283-482F-80C3-CE08926FFDE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386000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8F16FEF-6861-4146-AC51-ED5B1A7652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6000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8E3735C-48F4-CB4C-8DDB-A748BE26E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9992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4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6339C35-607C-4665-8CB9-315656933D39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B03E24-0B76-4422-B433-D0932C1946D7}"/>
              </a:ext>
            </a:extLst>
          </p:cNvPr>
          <p:cNvSpPr/>
          <p:nvPr userDrawn="1"/>
        </p:nvSpPr>
        <p:spPr>
          <a:xfrm>
            <a:off x="6096000" y="1083502"/>
            <a:ext cx="6096000" cy="54864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F1DD949-D367-428D-B633-583EC19AC58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66226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CC38B2D-9972-42E3-B060-A566AB58EB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6226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1EDE7D4-7136-4E07-9A9B-E5C01192ED4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CF12414-836C-45CA-9CDF-F2ECB6FA1E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itle 9">
            <a:extLst>
              <a:ext uri="{FF2B5EF4-FFF2-40B4-BE49-F238E27FC236}">
                <a16:creationId xmlns:a16="http://schemas.microsoft.com/office/drawing/2014/main" id="{A86A5F0E-2E0F-3946-9038-0A27CC45F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245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253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– AVIV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viva word pattern with caucasian man walking his dog, from a wheelchair ">
            <a:extLst>
              <a:ext uri="{FF2B5EF4-FFF2-40B4-BE49-F238E27FC236}">
                <a16:creationId xmlns:a16="http://schemas.microsoft.com/office/drawing/2014/main" id="{371725CB-B412-2549-92E2-16AA527541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B5227261-5B22-A24C-9CCF-B9A81D917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22910"/>
            <a:ext cx="5580062" cy="2103120"/>
          </a:xfrm>
        </p:spPr>
        <p:txBody>
          <a:bodyPr lIns="0" t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758CB11-8ACD-A343-8DE5-F92001B21F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767" y="5754461"/>
            <a:ext cx="3817937" cy="784748"/>
          </a:xfrm>
        </p:spPr>
        <p:txBody>
          <a:bodyPr lIns="0" tIns="0" rIns="0" bIns="0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8237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5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D34154A-0F4B-4DE9-883F-7207A2D8A61C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A55F8CE-AF7C-AA47-A706-E4B407319A4E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8753373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FF8E2AB8-A0AC-344E-9AF9-9D02B22F46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533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9" name="Picture Placeholder 19">
            <a:extLst>
              <a:ext uri="{FF2B5EF4-FFF2-40B4-BE49-F238E27FC236}">
                <a16:creationId xmlns:a16="http://schemas.microsoft.com/office/drawing/2014/main" id="{97302569-F594-6E4F-B9D5-C7551CFE801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550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A46DFDB-7CA6-F74C-8F2B-968B8D8B0F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4710037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D676CB4B-8603-BE49-A291-934DF91D5F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03888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6" name="Picture Placeholder 19">
            <a:extLst>
              <a:ext uri="{FF2B5EF4-FFF2-40B4-BE49-F238E27FC236}">
                <a16:creationId xmlns:a16="http://schemas.microsoft.com/office/drawing/2014/main" id="{B372E904-AE1A-0D4C-B091-F100262B9F3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05533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52DCE84-275E-9146-B7A5-B282DDEC91F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3774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390A2894-1A15-3948-BB33-55F781EDBF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1C664F-6531-104E-BDC0-4E41BFF19EF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254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9" name="Title 9">
            <a:extLst>
              <a:ext uri="{FF2B5EF4-FFF2-40B4-BE49-F238E27FC236}">
                <a16:creationId xmlns:a16="http://schemas.microsoft.com/office/drawing/2014/main" id="{32A85EE5-DBC6-1F47-9B9B-D431669AB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8859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820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– Option 2 Yellow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231D29-C4E1-446E-8201-1130B34D4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76859" y="1068193"/>
            <a:ext cx="9515141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440000"/>
            <a:ext cx="5108920" cy="51638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A88E6-3D0E-42CD-80BB-2BDE34493E8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2445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944C70-4659-4BE5-A403-56D01B71F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14" t="23737" r="36131" b="23942"/>
          <a:stretch/>
        </p:blipFill>
        <p:spPr>
          <a:xfrm>
            <a:off x="3729788" y="1091808"/>
            <a:ext cx="8468627" cy="548316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5580062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440000"/>
            <a:ext cx="5580062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158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944C70-4659-4BE5-A403-56D01B71F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14" t="23511" r="36131" b="23941"/>
          <a:stretch/>
        </p:blipFill>
        <p:spPr>
          <a:xfrm>
            <a:off x="3729788" y="1068194"/>
            <a:ext cx="8468627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5324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1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875B9AE-7143-A943-889E-8B2CD2E633F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66226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E304CCC7-9813-204B-BC59-5DF046AEB6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6226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8E3735C-48F4-CB4C-8DDB-A748BE26E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5167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2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A6ECB79-BAF5-1A47-8824-A5F2ADC883D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8CB86C1-61DA-7F43-8D6F-275B5B809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31890BAC-9687-104A-889B-5902CC289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512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3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875B9AE-7143-A943-889E-8B2CD2E633F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248226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E304CCC7-9813-204B-BC59-5DF046AEB6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48226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B90CC7C-F283-482F-80C3-CE08926FFDE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386000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8F16FEF-6861-4146-AC51-ED5B1A7652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6000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8E3735C-48F4-CB4C-8DDB-A748BE26E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52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4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6339C35-607C-4665-8CB9-315656933D39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="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="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B03E24-0B76-4422-B433-D0932C1946D7}"/>
              </a:ext>
            </a:extLst>
          </p:cNvPr>
          <p:cNvSpPr/>
          <p:nvPr userDrawn="1"/>
        </p:nvSpPr>
        <p:spPr>
          <a:xfrm>
            <a:off x="6096000" y="1083502"/>
            <a:ext cx="6096000" cy="54864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F1DD949-D367-428D-B633-583EC19AC58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66226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CC38B2D-9972-42E3-B060-A566AB58EB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6226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1EDE7D4-7136-4E07-9A9B-E5C01192ED4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CF12414-836C-45CA-9CDF-F2ECB6FA1E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itle 9">
            <a:extLst>
              <a:ext uri="{FF2B5EF4-FFF2-40B4-BE49-F238E27FC236}">
                <a16:creationId xmlns:a16="http://schemas.microsoft.com/office/drawing/2014/main" id="{A86A5F0E-2E0F-3946-9038-0A27CC45F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9087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253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CE1C5E-953E-4A25-A972-3BB1070079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362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CE1C5E-953E-4A25-A972-3BB107007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A3EAC2E4-E7E2-4B89-B981-E610901DDFDE}"/>
              </a:ext>
            </a:extLst>
          </p:cNvPr>
          <p:cNvSpPr/>
          <p:nvPr userDrawn="1"/>
        </p:nvSpPr>
        <p:spPr>
          <a:xfrm>
            <a:off x="8370916" y="1083502"/>
            <a:ext cx="3821084" cy="54864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9">
            <a:extLst>
              <a:ext uri="{FF2B5EF4-FFF2-40B4-BE49-F238E27FC236}">
                <a16:creationId xmlns:a16="http://schemas.microsoft.com/office/drawing/2014/main" id="{F2FC9D28-10A1-4C44-A13C-649483A31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vert="horz"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99955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45E2B3-5898-460D-AD97-9DB33F8AC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048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45E2B3-5898-460D-AD97-9DB33F8AC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0AF1EEC-80B4-44B6-871C-1B65A5213180}"/>
              </a:ext>
            </a:extLst>
          </p:cNvPr>
          <p:cNvSpPr/>
          <p:nvPr userDrawn="1"/>
        </p:nvSpPr>
        <p:spPr>
          <a:xfrm>
            <a:off x="8776446" y="1083502"/>
            <a:ext cx="3415553" cy="54864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9B1E2C44-5287-41F7-91D0-985795FC9B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vert="horz"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282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 AVIV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viva word pattern with hispanic woman looking over view from a mountaintop ">
            <a:extLst>
              <a:ext uri="{FF2B5EF4-FFF2-40B4-BE49-F238E27FC236}">
                <a16:creationId xmlns:a16="http://schemas.microsoft.com/office/drawing/2014/main" id="{9D7795B3-24A2-3C45-9388-2B80AEEDFC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611A1140-7D76-3248-A6FD-5723952A6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22910"/>
            <a:ext cx="5580062" cy="2103120"/>
          </a:xfrm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A517E2-FA11-064E-ACD2-82A6B60AD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767" y="5754461"/>
            <a:ext cx="3817937" cy="784748"/>
          </a:xfrm>
        </p:spPr>
        <p:txBody>
          <a:bodyPr lIns="0" tIns="0" rIns="0" bIns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2313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D1654A0-1803-4D28-935B-0A4B2E4F19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54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D1654A0-1803-4D28-935B-0A4B2E4F19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itle 9">
            <a:extLst>
              <a:ext uri="{FF2B5EF4-FFF2-40B4-BE49-F238E27FC236}">
                <a16:creationId xmlns:a16="http://schemas.microsoft.com/office/drawing/2014/main" id="{46AC93C5-57D7-4FA9-BCF8-32719BC02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vert="horz"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975FC412-0314-40C2-A4F7-BC779B2AE5E9}"/>
              </a:ext>
            </a:extLst>
          </p:cNvPr>
          <p:cNvSpPr/>
          <p:nvPr userDrawn="1"/>
        </p:nvSpPr>
        <p:spPr>
          <a:xfrm>
            <a:off x="0" y="1086123"/>
            <a:ext cx="4778188" cy="54864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5972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5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D34154A-0F4B-4DE9-883F-7207A2D8A61C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A55F8CE-AF7C-AA47-A706-E4B407319A4E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8753373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FF8E2AB8-A0AC-344E-9AF9-9D02B22F46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533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9" name="Picture Placeholder 19">
            <a:extLst>
              <a:ext uri="{FF2B5EF4-FFF2-40B4-BE49-F238E27FC236}">
                <a16:creationId xmlns:a16="http://schemas.microsoft.com/office/drawing/2014/main" id="{97302569-F594-6E4F-B9D5-C7551CFE801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550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A46DFDB-7CA6-F74C-8F2B-968B8D8B0F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4710037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D676CB4B-8603-BE49-A291-934DF91D5F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03888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6" name="Picture Placeholder 19">
            <a:extLst>
              <a:ext uri="{FF2B5EF4-FFF2-40B4-BE49-F238E27FC236}">
                <a16:creationId xmlns:a16="http://schemas.microsoft.com/office/drawing/2014/main" id="{B372E904-AE1A-0D4C-B091-F100262B9F3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05533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52DCE84-275E-9146-B7A5-B282DDEC91F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3774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390A2894-1A15-3948-BB33-55F781EDBF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1C664F-6531-104E-BDC0-4E41BFF19EF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254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9" name="Title 9">
            <a:extLst>
              <a:ext uri="{FF2B5EF4-FFF2-40B4-BE49-F238E27FC236}">
                <a16:creationId xmlns:a16="http://schemas.microsoft.com/office/drawing/2014/main" id="{32A85EE5-DBC6-1F47-9B9B-D431669AB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34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820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– Option 2 Yellow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231D29-C4E1-446E-8201-1130B34D4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76859" y="1068193"/>
            <a:ext cx="9515141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440000"/>
            <a:ext cx="5108920" cy="51638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A88E6-3D0E-42CD-80BB-2BDE34493E8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60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944C70-4659-4BE5-A403-56D01B71F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14" t="23737" r="36131" b="23942"/>
          <a:stretch/>
        </p:blipFill>
        <p:spPr>
          <a:xfrm>
            <a:off x="3729788" y="1091808"/>
            <a:ext cx="8468627" cy="548316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5580062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440000"/>
            <a:ext cx="5580062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0556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944C70-4659-4BE5-A403-56D01B71F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14" t="23511" r="36131" b="23941"/>
          <a:stretch/>
        </p:blipFill>
        <p:spPr>
          <a:xfrm>
            <a:off x="3729788" y="1068194"/>
            <a:ext cx="8468627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1173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1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BD756E6-52FD-4B95-BAC1-87C49FA73508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875B9AE-7143-A943-889E-8B2CD2E633F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66226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E304CCC7-9813-204B-BC59-5DF046AEB6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6226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8E3735C-48F4-CB4C-8DDB-A748BE26E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007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2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A13E19-4FD2-48AF-8B73-7BC14A2CE621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A6ECB79-BAF5-1A47-8824-A5F2ADC883D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8CB86C1-61DA-7F43-8D6F-275B5B809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31890BAC-9687-104A-889B-5902CC289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2130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3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9695AC4-96FF-42A5-8EB9-E5A0CEDAA2F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875B9AE-7143-A943-889E-8B2CD2E633F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248226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E304CCC7-9813-204B-BC59-5DF046AEB6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48226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B90CC7C-F283-482F-80C3-CE08926FFDE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386000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8F16FEF-6861-4146-AC51-ED5B1A7652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6000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8E3735C-48F4-CB4C-8DDB-A748BE26E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9375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4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6339C35-607C-4665-8CB9-315656933D39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B03E24-0B76-4422-B433-D0932C1946D7}"/>
              </a:ext>
            </a:extLst>
          </p:cNvPr>
          <p:cNvSpPr/>
          <p:nvPr userDrawn="1"/>
        </p:nvSpPr>
        <p:spPr>
          <a:xfrm>
            <a:off x="6096000" y="1083502"/>
            <a:ext cx="6096000" cy="54864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F1DD949-D367-428D-B633-583EC19AC58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66226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CC38B2D-9972-42E3-B060-A566AB58EB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6226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1EDE7D4-7136-4E07-9A9B-E5C01192ED4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CF12414-836C-45CA-9CDF-F2ECB6FA1E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itle 9">
            <a:extLst>
              <a:ext uri="{FF2B5EF4-FFF2-40B4-BE49-F238E27FC236}">
                <a16:creationId xmlns:a16="http://schemas.microsoft.com/office/drawing/2014/main" id="{A86A5F0E-2E0F-3946-9038-0A27CC45F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1778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253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5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D34154A-0F4B-4DE9-883F-7207A2D8A61C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A55F8CE-AF7C-AA47-A706-E4B407319A4E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8753373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FF8E2AB8-A0AC-344E-9AF9-9D02B22F46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533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Picture Placeholder 19">
            <a:extLst>
              <a:ext uri="{FF2B5EF4-FFF2-40B4-BE49-F238E27FC236}">
                <a16:creationId xmlns:a16="http://schemas.microsoft.com/office/drawing/2014/main" id="{97302569-F594-6E4F-B9D5-C7551CFE801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550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A46DFDB-7CA6-F74C-8F2B-968B8D8B0F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4710037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D676CB4B-8603-BE49-A291-934DF91D5F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03888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Picture Placeholder 19">
            <a:extLst>
              <a:ext uri="{FF2B5EF4-FFF2-40B4-BE49-F238E27FC236}">
                <a16:creationId xmlns:a16="http://schemas.microsoft.com/office/drawing/2014/main" id="{B372E904-AE1A-0D4C-B091-F100262B9F3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05533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52DCE84-275E-9146-B7A5-B282DDEC91F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3774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390A2894-1A15-3948-BB33-55F781EDBF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1C664F-6531-104E-BDC0-4E41BFF19EF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254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9" name="Title 9">
            <a:extLst>
              <a:ext uri="{FF2B5EF4-FFF2-40B4-BE49-F238E27FC236}">
                <a16:creationId xmlns:a16="http://schemas.microsoft.com/office/drawing/2014/main" id="{32A85EE5-DBC6-1F47-9B9B-D431669AB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3058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820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– AVIV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viva word pattern with caucasian girl picking up litter in healthland">
            <a:extLst>
              <a:ext uri="{FF2B5EF4-FFF2-40B4-BE49-F238E27FC236}">
                <a16:creationId xmlns:a16="http://schemas.microsoft.com/office/drawing/2014/main" id="{BBB739AC-90F6-684C-8126-945015E3D7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7617C3B3-5539-B24B-92D2-9E048E434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22910"/>
            <a:ext cx="5580062" cy="1943100"/>
          </a:xfrm>
        </p:spPr>
        <p:txBody>
          <a:bodyPr lIns="0" t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BF2A669-85C9-C043-82C7-A245B8779F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767" y="5754461"/>
            <a:ext cx="3817937" cy="784748"/>
          </a:xfrm>
        </p:spPr>
        <p:txBody>
          <a:bodyPr lIns="0" tIns="0" rIns="0" bIns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4718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– Option 2 Yellow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231D29-C4E1-446E-8201-1130B34D4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76859" y="1068193"/>
            <a:ext cx="9515141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440000"/>
            <a:ext cx="5108920" cy="51638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A88E6-3D0E-42CD-80BB-2BDE34493E8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144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944C70-4659-4BE5-A403-56D01B71F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14" t="23737" r="36131" b="23942"/>
          <a:stretch/>
        </p:blipFill>
        <p:spPr>
          <a:xfrm>
            <a:off x="3729788" y="1091808"/>
            <a:ext cx="8468627" cy="548316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5580062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440000"/>
            <a:ext cx="5580062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6460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944C70-4659-4BE5-A403-56D01B71F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14" t="23511" r="36131" b="23941"/>
          <a:stretch/>
        </p:blipFill>
        <p:spPr>
          <a:xfrm>
            <a:off x="3729788" y="1068194"/>
            <a:ext cx="8468627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350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– Option 2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941606E-58CA-DE43-9728-C631883E3B0D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A6ECB79-BAF5-1A47-8824-A5F2ADC883D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8CB86C1-61DA-7F43-8D6F-275B5B809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31890BAC-9687-104A-889B-5902CC289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295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ver – AVIV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viva word pattern with caucasian family">
            <a:extLst>
              <a:ext uri="{FF2B5EF4-FFF2-40B4-BE49-F238E27FC236}">
                <a16:creationId xmlns:a16="http://schemas.microsoft.com/office/drawing/2014/main" id="{D7E9D27F-98A3-F040-9A99-119F59ADC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30DD394C-467F-654C-AF8A-08CA1300C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97114"/>
            <a:ext cx="5580062" cy="186956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lnSpc>
                <a:spcPct val="100000"/>
              </a:lnSpc>
              <a:defRPr lang="en-GB" sz="4650" b="1" i="0" baseline="0" dirty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marL="0" lvl="0">
              <a:lnSpc>
                <a:spcPts val="4780"/>
              </a:lnSpc>
            </a:pPr>
            <a:r>
              <a:rPr lang="en-GB"/>
              <a:t>Click to edit </a:t>
            </a:r>
            <a:br>
              <a:rPr lang="en-GB"/>
            </a:br>
            <a:r>
              <a:rPr lang="en-GB"/>
              <a:t>Master title </a:t>
            </a:r>
            <a:br>
              <a:rPr lang="en-GB"/>
            </a:br>
            <a:r>
              <a:rPr lang="en-GB"/>
              <a:t>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9F17C3-5FB7-A948-B3DA-FFCC81E8C1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767" y="5754461"/>
            <a:ext cx="3817937" cy="784748"/>
          </a:xfrm>
        </p:spPr>
        <p:txBody>
          <a:bodyPr lIns="0" tIns="0" rIns="0" bIns="0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8526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– Pattern graphic Option 4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40C9965-5314-49AD-BE40-7B7D2D55D1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4208" y="0"/>
            <a:ext cx="10417792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F874232-16DB-CA45-A936-7BBFD39F0EF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5" name="Picture 14" descr="Aviva logo">
            <a:extLst>
              <a:ext uri="{FF2B5EF4-FFF2-40B4-BE49-F238E27FC236}">
                <a16:creationId xmlns:a16="http://schemas.microsoft.com/office/drawing/2014/main" id="{F7427034-7DF2-4BC5-A0FC-22954B9212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5"/>
            <a:ext cx="1293312" cy="1369905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483BFEBD-4572-D243-B2CA-3274AE5E7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2168525"/>
            <a:ext cx="5355473" cy="2032429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650" b="1" i="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</a:t>
            </a:r>
            <a:br>
              <a:rPr lang="en-GB"/>
            </a:br>
            <a:r>
              <a:rPr lang="en-GB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929152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D1912-EFBF-4FBB-B0FD-3CD7A74FF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D9E63E-AABE-479B-8E99-6618FBEB1B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6812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1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BD756E6-52FD-4B95-BAC1-87C49FA73508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2265680"/>
            <a:ext cx="2593460" cy="386365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DEABEA3-1744-6D40-9913-4CF0450A1AA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379362" y="2265680"/>
            <a:ext cx="2593460" cy="386365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4E533A4-C4A4-C343-BDE7-AB508FFFF1C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234951" y="2265680"/>
            <a:ext cx="2593460" cy="386365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552F6A-44EF-804E-BBF5-B84FC9A86D1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090540" y="2265680"/>
            <a:ext cx="2593460" cy="386365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6FDDDDB-841E-D141-9DA1-EAF8C638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3028" b="33945"/>
          <a:stretch/>
        </p:blipFill>
        <p:spPr>
          <a:xfrm>
            <a:off x="3053080" y="1300321"/>
            <a:ext cx="2433320" cy="803665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B66A15ED-AFD1-F247-9677-B3820D5C03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33486" b="34404"/>
          <a:stretch/>
        </p:blipFill>
        <p:spPr>
          <a:xfrm>
            <a:off x="5857240" y="1311483"/>
            <a:ext cx="2433320" cy="781341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E888523-97BA-6E4A-A236-4BDBD79DDC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32569" b="33486"/>
          <a:stretch/>
        </p:blipFill>
        <p:spPr>
          <a:xfrm>
            <a:off x="8956040" y="1289159"/>
            <a:ext cx="2433320" cy="825989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B62923DA-4CE6-9249-9AF5-6F45F66CF4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33012" b="33945"/>
          <a:stretch/>
        </p:blipFill>
        <p:spPr>
          <a:xfrm>
            <a:off x="0" y="1300127"/>
            <a:ext cx="2433320" cy="804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791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– Option 1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BD756E6-52FD-4B95-BAC1-87C49FA73508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2265680"/>
            <a:ext cx="2593460" cy="3866400"/>
          </a:xfrm>
          <a:ln w="19050">
            <a:solidFill>
              <a:srgbClr val="005A6C"/>
            </a:solidFill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DEABEA3-1744-6D40-9913-4CF0450A1AA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379362" y="2265680"/>
            <a:ext cx="2593460" cy="3866400"/>
          </a:xfrm>
          <a:ln w="19050">
            <a:solidFill>
              <a:srgbClr val="39A9AD"/>
            </a:solidFill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4E533A4-C4A4-C343-BDE7-AB508FFFF1C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234951" y="2265680"/>
            <a:ext cx="2593460" cy="3866400"/>
          </a:xfrm>
          <a:ln w="19050">
            <a:solidFill>
              <a:srgbClr val="444444"/>
            </a:solidFill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552F6A-44EF-804E-BBF5-B84FC9A86D1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090540" y="2265680"/>
            <a:ext cx="2593460" cy="3866400"/>
          </a:xfrm>
          <a:ln w="19050">
            <a:solidFill>
              <a:srgbClr val="4F9F31"/>
            </a:solidFill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6FDDDDB-841E-D141-9DA1-EAF8C638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3028" b="33945"/>
          <a:stretch/>
        </p:blipFill>
        <p:spPr>
          <a:xfrm>
            <a:off x="3459432" y="1277171"/>
            <a:ext cx="2433320" cy="803665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B66A15ED-AFD1-F247-9677-B3820D5C03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33486" b="34404"/>
          <a:stretch/>
        </p:blipFill>
        <p:spPr>
          <a:xfrm>
            <a:off x="6315021" y="1328973"/>
            <a:ext cx="2433320" cy="781341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E888523-97BA-6E4A-A236-4BDBD79DDC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32569" b="33486"/>
          <a:stretch/>
        </p:blipFill>
        <p:spPr>
          <a:xfrm>
            <a:off x="9170610" y="1337129"/>
            <a:ext cx="2433320" cy="825989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B62923DA-4CE6-9249-9AF5-6F45F66CF4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33012" b="33945"/>
          <a:stretch/>
        </p:blipFill>
        <p:spPr>
          <a:xfrm>
            <a:off x="603844" y="1307457"/>
            <a:ext cx="2433320" cy="804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48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– Option 1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BD756E6-52FD-4B95-BAC1-87C49FA73508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2615878"/>
            <a:ext cx="2593460" cy="3516202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DEABEA3-1744-6D40-9913-4CF0450A1AA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379362" y="2615878"/>
            <a:ext cx="2593460" cy="3516202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4E533A4-C4A4-C343-BDE7-AB508FFFF1C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269675" y="2615878"/>
            <a:ext cx="2593460" cy="3516202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552F6A-44EF-804E-BBF5-B84FC9A86D1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090540" y="2615878"/>
            <a:ext cx="2593460" cy="3516202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4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6FDDDDB-841E-D141-9DA1-EAF8C638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3028" b="33945"/>
          <a:stretch/>
        </p:blipFill>
        <p:spPr>
          <a:xfrm>
            <a:off x="3459432" y="1596104"/>
            <a:ext cx="2433320" cy="803665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B66A15ED-AFD1-F247-9677-B3820D5C03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33486" b="34404"/>
          <a:stretch/>
        </p:blipFill>
        <p:spPr>
          <a:xfrm>
            <a:off x="6315021" y="1607266"/>
            <a:ext cx="2433320" cy="781341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E888523-97BA-6E4A-A236-4BDBD79DDC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32569" b="33486"/>
          <a:stretch/>
        </p:blipFill>
        <p:spPr>
          <a:xfrm>
            <a:off x="9170610" y="1584942"/>
            <a:ext cx="2433320" cy="82598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0D0EF53-46CB-E84A-A9F7-D7F1E1818B19}"/>
              </a:ext>
            </a:extLst>
          </p:cNvPr>
          <p:cNvSpPr/>
          <p:nvPr userDrawn="1"/>
        </p:nvSpPr>
        <p:spPr>
          <a:xfrm>
            <a:off x="509286" y="1400537"/>
            <a:ext cx="2627453" cy="4745620"/>
          </a:xfrm>
          <a:prstGeom prst="rect">
            <a:avLst/>
          </a:prstGeom>
          <a:noFill/>
          <a:ln w="19050">
            <a:solidFill>
              <a:srgbClr val="005A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70A0B6-72EF-2D41-A975-AB41B6CABB31}"/>
              </a:ext>
            </a:extLst>
          </p:cNvPr>
          <p:cNvSpPr/>
          <p:nvPr userDrawn="1"/>
        </p:nvSpPr>
        <p:spPr>
          <a:xfrm>
            <a:off x="3359696" y="1400537"/>
            <a:ext cx="2627453" cy="4745620"/>
          </a:xfrm>
          <a:prstGeom prst="rect">
            <a:avLst/>
          </a:prstGeom>
          <a:noFill/>
          <a:ln w="19050">
            <a:solidFill>
              <a:srgbClr val="39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546850-2623-E344-B6E5-83EEA6D883F1}"/>
              </a:ext>
            </a:extLst>
          </p:cNvPr>
          <p:cNvSpPr/>
          <p:nvPr userDrawn="1"/>
        </p:nvSpPr>
        <p:spPr>
          <a:xfrm>
            <a:off x="6240016" y="1400537"/>
            <a:ext cx="2627453" cy="4745620"/>
          </a:xfrm>
          <a:prstGeom prst="rect">
            <a:avLst/>
          </a:prstGeom>
          <a:noFill/>
          <a:ln w="19050">
            <a:solidFill>
              <a:srgbClr val="4444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E1D551-B4BD-E042-8138-A3FAF24B349D}"/>
              </a:ext>
            </a:extLst>
          </p:cNvPr>
          <p:cNvSpPr/>
          <p:nvPr userDrawn="1"/>
        </p:nvSpPr>
        <p:spPr>
          <a:xfrm>
            <a:off x="9056547" y="1400537"/>
            <a:ext cx="2627453" cy="4745620"/>
          </a:xfrm>
          <a:prstGeom prst="rect">
            <a:avLst/>
          </a:prstGeom>
          <a:noFill/>
          <a:ln w="19050">
            <a:solidFill>
              <a:srgbClr val="4F9F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2CBC8292-4F31-024E-B5F8-D3AA0F5E66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33012" b="33945"/>
          <a:stretch/>
        </p:blipFill>
        <p:spPr>
          <a:xfrm>
            <a:off x="603844" y="1595910"/>
            <a:ext cx="2433320" cy="804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39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 AVIVA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viva word pattern with mixed ethnicity, heterosexual couple embrancing">
            <a:extLst>
              <a:ext uri="{FF2B5EF4-FFF2-40B4-BE49-F238E27FC236}">
                <a16:creationId xmlns:a16="http://schemas.microsoft.com/office/drawing/2014/main" id="{EDBAE9D1-FCE5-D44F-BA15-15FD4523B7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5D5E4C0F-DEE2-AD48-9E2D-0D5737D4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22910"/>
            <a:ext cx="5580062" cy="2103120"/>
          </a:xfrm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E19A6FA-2193-CA48-BC91-DA162176B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767" y="5754461"/>
            <a:ext cx="3817937" cy="784748"/>
          </a:xfrm>
        </p:spPr>
        <p:txBody>
          <a:bodyPr lIns="0" tIns="0" rIns="0" bIns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2477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– Option 1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BD756E6-52FD-4B95-BAC1-87C49FA73508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2055155"/>
            <a:ext cx="2593460" cy="2618917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855809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DEABEA3-1744-6D40-9913-4CF0450A1AA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385752" y="2070001"/>
            <a:ext cx="2593460" cy="2618917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4E533A4-C4A4-C343-BDE7-AB508FFFF1C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269675" y="2055155"/>
            <a:ext cx="2593460" cy="2618917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552F6A-44EF-804E-BBF5-B84FC9A86D1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090540" y="2055155"/>
            <a:ext cx="2593460" cy="2618917"/>
          </a:xfrm>
          <a:ln w="19050">
            <a:noFill/>
          </a:ln>
        </p:spPr>
        <p:txBody>
          <a:bodyPr lIns="72000" tIns="72000" rIns="72000" bIns="72000">
            <a:noAutofit/>
          </a:bodyPr>
          <a:lstStyle>
            <a:lvl1pPr marL="2304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2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D0EF53-46CB-E84A-A9F7-D7F1E1818B19}"/>
              </a:ext>
            </a:extLst>
          </p:cNvPr>
          <p:cNvSpPr/>
          <p:nvPr userDrawn="1"/>
        </p:nvSpPr>
        <p:spPr>
          <a:xfrm>
            <a:off x="207949" y="1400536"/>
            <a:ext cx="2850410" cy="5026141"/>
          </a:xfrm>
          <a:custGeom>
            <a:avLst/>
            <a:gdLst>
              <a:gd name="connsiteX0" fmla="*/ 0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0 w 2627453"/>
              <a:gd name="connsiteY6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91440 w 2627453"/>
              <a:gd name="connsiteY6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  <a:gd name="connsiteX5" fmla="*/ 91440 w 2627453"/>
              <a:gd name="connsiteY5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7453" h="4745620">
                <a:moveTo>
                  <a:pt x="972273" y="0"/>
                </a:moveTo>
                <a:lnTo>
                  <a:pt x="2627453" y="0"/>
                </a:lnTo>
                <a:lnTo>
                  <a:pt x="2627453" y="4745620"/>
                </a:lnTo>
                <a:lnTo>
                  <a:pt x="0" y="4745620"/>
                </a:lnTo>
                <a:lnTo>
                  <a:pt x="0" y="983848"/>
                </a:lnTo>
              </a:path>
            </a:pathLst>
          </a:custGeom>
          <a:noFill/>
          <a:ln w="19050">
            <a:solidFill>
              <a:srgbClr val="3AAE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8EC62685-DE8C-B34D-83D4-1167E392734D}"/>
              </a:ext>
            </a:extLst>
          </p:cNvPr>
          <p:cNvSpPr/>
          <p:nvPr userDrawn="1"/>
        </p:nvSpPr>
        <p:spPr>
          <a:xfrm>
            <a:off x="3359696" y="1400537"/>
            <a:ext cx="2694812" cy="5026141"/>
          </a:xfrm>
          <a:custGeom>
            <a:avLst/>
            <a:gdLst>
              <a:gd name="connsiteX0" fmla="*/ 0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0 w 2627453"/>
              <a:gd name="connsiteY6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91440 w 2627453"/>
              <a:gd name="connsiteY6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  <a:gd name="connsiteX5" fmla="*/ 91440 w 2627453"/>
              <a:gd name="connsiteY5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7453" h="4745620">
                <a:moveTo>
                  <a:pt x="972273" y="0"/>
                </a:moveTo>
                <a:lnTo>
                  <a:pt x="2627453" y="0"/>
                </a:lnTo>
                <a:lnTo>
                  <a:pt x="2627453" y="4745620"/>
                </a:lnTo>
                <a:lnTo>
                  <a:pt x="0" y="4745620"/>
                </a:lnTo>
                <a:lnTo>
                  <a:pt x="0" y="98384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1">
            <a:extLst>
              <a:ext uri="{FF2B5EF4-FFF2-40B4-BE49-F238E27FC236}">
                <a16:creationId xmlns:a16="http://schemas.microsoft.com/office/drawing/2014/main" id="{750243DF-F684-7847-AC4B-A5DA11F21D6B}"/>
              </a:ext>
            </a:extLst>
          </p:cNvPr>
          <p:cNvSpPr/>
          <p:nvPr userDrawn="1"/>
        </p:nvSpPr>
        <p:spPr>
          <a:xfrm>
            <a:off x="6251591" y="1400537"/>
            <a:ext cx="2627453" cy="5026141"/>
          </a:xfrm>
          <a:custGeom>
            <a:avLst/>
            <a:gdLst>
              <a:gd name="connsiteX0" fmla="*/ 0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0 w 2627453"/>
              <a:gd name="connsiteY6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91440 w 2627453"/>
              <a:gd name="connsiteY6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  <a:gd name="connsiteX5" fmla="*/ 91440 w 2627453"/>
              <a:gd name="connsiteY5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7453" h="4745620">
                <a:moveTo>
                  <a:pt x="972273" y="0"/>
                </a:moveTo>
                <a:lnTo>
                  <a:pt x="2627453" y="0"/>
                </a:lnTo>
                <a:lnTo>
                  <a:pt x="2627453" y="4745620"/>
                </a:lnTo>
                <a:lnTo>
                  <a:pt x="0" y="4745620"/>
                </a:lnTo>
                <a:lnTo>
                  <a:pt x="0" y="983848"/>
                </a:lnTo>
              </a:path>
            </a:pathLst>
          </a:custGeom>
          <a:noFill/>
          <a:ln w="19050">
            <a:solidFill>
              <a:srgbClr val="39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id="{B700674E-109F-8444-B872-433429860544}"/>
              </a:ext>
            </a:extLst>
          </p:cNvPr>
          <p:cNvSpPr/>
          <p:nvPr userDrawn="1"/>
        </p:nvSpPr>
        <p:spPr>
          <a:xfrm>
            <a:off x="9125792" y="1400537"/>
            <a:ext cx="2906261" cy="5026141"/>
          </a:xfrm>
          <a:custGeom>
            <a:avLst/>
            <a:gdLst>
              <a:gd name="connsiteX0" fmla="*/ 0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0 w 2627453"/>
              <a:gd name="connsiteY6" fmla="*/ 0 h 4745620"/>
              <a:gd name="connsiteX0" fmla="*/ 0 w 2627453"/>
              <a:gd name="connsiteY0" fmla="*/ 0 h 4745620"/>
              <a:gd name="connsiteX1" fmla="*/ 972273 w 2627453"/>
              <a:gd name="connsiteY1" fmla="*/ 0 h 4745620"/>
              <a:gd name="connsiteX2" fmla="*/ 2627453 w 2627453"/>
              <a:gd name="connsiteY2" fmla="*/ 0 h 4745620"/>
              <a:gd name="connsiteX3" fmla="*/ 2627453 w 2627453"/>
              <a:gd name="connsiteY3" fmla="*/ 4745620 h 4745620"/>
              <a:gd name="connsiteX4" fmla="*/ 0 w 2627453"/>
              <a:gd name="connsiteY4" fmla="*/ 4745620 h 4745620"/>
              <a:gd name="connsiteX5" fmla="*/ 0 w 2627453"/>
              <a:gd name="connsiteY5" fmla="*/ 983848 h 4745620"/>
              <a:gd name="connsiteX6" fmla="*/ 91440 w 2627453"/>
              <a:gd name="connsiteY6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  <a:gd name="connsiteX5" fmla="*/ 91440 w 2627453"/>
              <a:gd name="connsiteY5" fmla="*/ 91440 h 4745620"/>
              <a:gd name="connsiteX0" fmla="*/ 972273 w 2627453"/>
              <a:gd name="connsiteY0" fmla="*/ 0 h 4745620"/>
              <a:gd name="connsiteX1" fmla="*/ 2627453 w 2627453"/>
              <a:gd name="connsiteY1" fmla="*/ 0 h 4745620"/>
              <a:gd name="connsiteX2" fmla="*/ 2627453 w 2627453"/>
              <a:gd name="connsiteY2" fmla="*/ 4745620 h 4745620"/>
              <a:gd name="connsiteX3" fmla="*/ 0 w 2627453"/>
              <a:gd name="connsiteY3" fmla="*/ 4745620 h 4745620"/>
              <a:gd name="connsiteX4" fmla="*/ 0 w 2627453"/>
              <a:gd name="connsiteY4" fmla="*/ 983848 h 474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7453" h="4745620">
                <a:moveTo>
                  <a:pt x="972273" y="0"/>
                </a:moveTo>
                <a:lnTo>
                  <a:pt x="2627453" y="0"/>
                </a:lnTo>
                <a:lnTo>
                  <a:pt x="2627453" y="4745620"/>
                </a:lnTo>
                <a:lnTo>
                  <a:pt x="0" y="4745620"/>
                </a:lnTo>
                <a:lnTo>
                  <a:pt x="0" y="983848"/>
                </a:lnTo>
              </a:path>
            </a:pathLst>
          </a:custGeom>
          <a:noFill/>
          <a:ln w="19050">
            <a:solidFill>
              <a:srgbClr val="3AAE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0B36F04-581B-0043-B6ED-DDDDE8CCEA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710" t="33028" b="33945"/>
          <a:stretch/>
        </p:blipFill>
        <p:spPr>
          <a:xfrm>
            <a:off x="4419600" y="1253142"/>
            <a:ext cx="1318179" cy="759921"/>
          </a:xfrm>
          <a:prstGeom prst="rect">
            <a:avLst/>
          </a:prstGeom>
        </p:spPr>
      </p:pic>
      <p:pic>
        <p:nvPicPr>
          <p:cNvPr id="32" name="Picture 31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82EE426D-0152-9644-9ED3-2ACB4ED5C7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3310" t="33486" b="34404"/>
          <a:stretch/>
        </p:blipFill>
        <p:spPr>
          <a:xfrm>
            <a:off x="7277099" y="1263696"/>
            <a:ext cx="1304363" cy="738812"/>
          </a:xfrm>
          <a:prstGeom prst="rect">
            <a:avLst/>
          </a:prstGeom>
        </p:spPr>
      </p:pic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3F99054A-5411-C642-9B75-04B80DF359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4516" t="32569" b="33486"/>
          <a:stretch/>
        </p:blipFill>
        <p:spPr>
          <a:xfrm>
            <a:off x="10121900" y="1242587"/>
            <a:ext cx="1506704" cy="781030"/>
          </a:xfrm>
          <a:prstGeom prst="rect">
            <a:avLst/>
          </a:prstGeom>
        </p:spPr>
      </p:pic>
      <p:pic>
        <p:nvPicPr>
          <p:cNvPr id="34" name="Picture 33" descr="Logo&#10;&#10;Description automatically generated">
            <a:extLst>
              <a:ext uri="{FF2B5EF4-FFF2-40B4-BE49-F238E27FC236}">
                <a16:creationId xmlns:a16="http://schemas.microsoft.com/office/drawing/2014/main" id="{B801E206-8308-7F4B-BD23-AC80400EA5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8372" t="33012" b="33945"/>
          <a:stretch/>
        </p:blipFill>
        <p:spPr>
          <a:xfrm>
            <a:off x="1359148" y="1252959"/>
            <a:ext cx="1187891" cy="76028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916032-1A2E-F14F-A75C-0AAE96BD1B69}"/>
              </a:ext>
            </a:extLst>
          </p:cNvPr>
          <p:cNvSpPr txBox="1"/>
          <p:nvPr userDrawn="1"/>
        </p:nvSpPr>
        <p:spPr>
          <a:xfrm>
            <a:off x="9275327" y="284644"/>
            <a:ext cx="22324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January – June 2022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0FAA7B1B-3C08-47C5-94DA-8C4B160EF38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235665" y="1141979"/>
            <a:ext cx="936000" cy="937275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F2BA1742-F84D-4C52-A9DE-EF6B291EFCA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5059" y="1141978"/>
            <a:ext cx="936000" cy="938550"/>
          </a:xfrm>
          <a:prstGeom prst="rect">
            <a:avLst/>
          </a:prstGeom>
        </p:spPr>
      </p:pic>
      <p:pic>
        <p:nvPicPr>
          <p:cNvPr id="12" name="Picture 11" descr="A yellow circle with a blue circle in the middle&#10;&#10;Description automatically generated with low confidence">
            <a:extLst>
              <a:ext uri="{FF2B5EF4-FFF2-40B4-BE49-F238E27FC236}">
                <a16:creationId xmlns:a16="http://schemas.microsoft.com/office/drawing/2014/main" id="{EEFC3834-8C6C-4E91-ABEB-65629A0544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137493" y="1141978"/>
            <a:ext cx="933457" cy="936000"/>
          </a:xfrm>
          <a:prstGeom prst="rect">
            <a:avLst/>
          </a:prstGeom>
        </p:spPr>
      </p:pic>
      <p:pic>
        <p:nvPicPr>
          <p:cNvPr id="16" name="Picture 15" descr="A picture containing text, clock, sign&#10;&#10;Description automatically generated">
            <a:extLst>
              <a:ext uri="{FF2B5EF4-FFF2-40B4-BE49-F238E27FC236}">
                <a16:creationId xmlns:a16="http://schemas.microsoft.com/office/drawing/2014/main" id="{E167B097-3677-4E20-B95E-046E362E62D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040690" y="1129102"/>
            <a:ext cx="936000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734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2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A13E19-4FD2-48AF-8B73-7BC14A2CE621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A6ECB79-BAF5-1A47-8824-A5F2ADC883D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8CB86C1-61DA-7F43-8D6F-275B5B809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31890BAC-9687-104A-889B-5902CC289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5561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3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9695AC4-96FF-42A5-8EB9-E5A0CEDAA2F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875B9AE-7143-A943-889E-8B2CD2E633F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248226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E304CCC7-9813-204B-BC59-5DF046AEB6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48226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B90CC7C-F283-482F-80C3-CE08926FFDE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386000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8F16FEF-6861-4146-AC51-ED5B1A7652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6000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CD6C53E-0388-484C-9B65-7A2BCFA76B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3420000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8E3735C-48F4-CB4C-8DDB-A748BE26E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3420000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7" name="Title 9">
            <a:extLst>
              <a:ext uri="{FF2B5EF4-FFF2-40B4-BE49-F238E27FC236}">
                <a16:creationId xmlns:a16="http://schemas.microsoft.com/office/drawing/2014/main" id="{303216BD-EE9F-7746-95AC-91ECF1302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2087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3840">
          <p15:clr>
            <a:srgbClr val="FBAE40"/>
          </p15:clr>
        </p15:guide>
        <p15:guide id="5" pos="325">
          <p15:clr>
            <a:srgbClr val="FBAE40"/>
          </p15:clr>
        </p15:guide>
        <p15:guide id="6" pos="7355">
          <p15:clr>
            <a:srgbClr val="FBAE40"/>
          </p15:clr>
        </p15:guide>
        <p15:guide id="7" pos="3545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4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6339C35-607C-4665-8CB9-315656933D39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B03E24-0B76-4422-B433-D0932C1946D7}"/>
              </a:ext>
            </a:extLst>
          </p:cNvPr>
          <p:cNvSpPr/>
          <p:nvPr userDrawn="1"/>
        </p:nvSpPr>
        <p:spPr>
          <a:xfrm>
            <a:off x="6096000" y="1083502"/>
            <a:ext cx="6096000" cy="54864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F1DD949-D367-428D-B633-583EC19AC58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66226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CC38B2D-9972-42E3-B060-A566AB58EB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66226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1EDE7D4-7136-4E07-9A9B-E5C01192ED4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CF12414-836C-45CA-9CDF-F2ECB6FA1E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1440000"/>
            <a:ext cx="5101084" cy="521179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itle 9">
            <a:extLst>
              <a:ext uri="{FF2B5EF4-FFF2-40B4-BE49-F238E27FC236}">
                <a16:creationId xmlns:a16="http://schemas.microsoft.com/office/drawing/2014/main" id="{A86A5F0E-2E0F-3946-9038-0A27CC45F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797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253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Option 5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D34154A-0F4B-4DE9-883F-7207A2D8A61C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A55F8CE-AF7C-AA47-A706-E4B407319A4E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8753373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FF8E2AB8-A0AC-344E-9AF9-9D02B22F46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533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9" name="Picture Placeholder 19">
            <a:extLst>
              <a:ext uri="{FF2B5EF4-FFF2-40B4-BE49-F238E27FC236}">
                <a16:creationId xmlns:a16="http://schemas.microsoft.com/office/drawing/2014/main" id="{97302569-F594-6E4F-B9D5-C7551CFE801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550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A46DFDB-7CA6-F74C-8F2B-968B8D8B0FE3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4710037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D676CB4B-8603-BE49-A291-934DF91D5F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03888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6" name="Picture Placeholder 19">
            <a:extLst>
              <a:ext uri="{FF2B5EF4-FFF2-40B4-BE49-F238E27FC236}">
                <a16:creationId xmlns:a16="http://schemas.microsoft.com/office/drawing/2014/main" id="{B372E904-AE1A-0D4C-B091-F100262B9F3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05533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B52DCE84-275E-9146-B7A5-B282DDEC91F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3774" y="3420000"/>
            <a:ext cx="2914853" cy="270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390A2894-1A15-3948-BB33-55F781EDBF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4" y="2880000"/>
            <a:ext cx="2921002" cy="398462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1C664F-6531-104E-BDC0-4E41BFF19EF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25419" y="1440000"/>
            <a:ext cx="1317711" cy="1197367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aseline="0">
                <a:solidFill>
                  <a:srgbClr val="5C596D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39" name="Title 9">
            <a:extLst>
              <a:ext uri="{FF2B5EF4-FFF2-40B4-BE49-F238E27FC236}">
                <a16:creationId xmlns:a16="http://schemas.microsoft.com/office/drawing/2014/main" id="{32A85EE5-DBC6-1F47-9B9B-D431669AB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2438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820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735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– Option 2 Yellow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231D29-C4E1-446E-8201-1130B34D4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4309" r="50000" b="24247"/>
          <a:stretch/>
        </p:blipFill>
        <p:spPr>
          <a:xfrm>
            <a:off x="2676859" y="1068193"/>
            <a:ext cx="9515141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440000"/>
            <a:ext cx="5108920" cy="51638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A88E6-3D0E-42CD-80BB-2BDE34493E8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1980000"/>
            <a:ext cx="510108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0365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09944C70-4659-4BE5-A403-56D01B71FE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18414" t="23737" r="36131" b="23942"/>
          <a:stretch/>
        </p:blipFill>
        <p:spPr>
          <a:xfrm>
            <a:off x="3729788" y="1091808"/>
            <a:ext cx="8468627" cy="548316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516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– Option 2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09944C70-4659-4BE5-A403-56D01B71FE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18414" t="23511" r="36131" b="23941"/>
          <a:stretch/>
        </p:blipFill>
        <p:spPr>
          <a:xfrm>
            <a:off x="3729788" y="1068194"/>
            <a:ext cx="8468627" cy="550678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2B0E6-EA58-44AB-B55F-885BEC6B7EE6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D21F9BA-8659-854F-9EBD-57EA772C65E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8" y="1980000"/>
            <a:ext cx="11160124" cy="4149338"/>
          </a:xfrm>
        </p:spPr>
        <p:txBody>
          <a:bodyPr lIns="0" rIns="0">
            <a:noAutofit/>
          </a:bodyPr>
          <a:lstStyle>
            <a:lvl1pPr marL="2304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  <a:lvl2pPr marL="432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2pPr>
            <a:lvl3pPr marL="648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3pPr>
            <a:lvl4pPr marL="864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4pPr>
            <a:lvl5pPr marL="1080000" indent="-216000" defTabSz="360000">
              <a:lnSpc>
                <a:spcPct val="100000"/>
              </a:lnSpc>
              <a:defRPr sz="1600" baseline="0">
                <a:solidFill>
                  <a:schemeClr val="tx1"/>
                </a:solidFill>
                <a:latin typeface="Source Sans Pro" panose="020B0503030403020204" pitchFamily="34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6BC90E8-7030-5E4B-B9BF-121FD8B65C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440000"/>
            <a:ext cx="11160125" cy="539750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3E53FA9-B329-0147-969A-ADECD89EA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1807"/>
            <a:ext cx="11166538" cy="1080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 fontAlgn="ctr">
              <a:lnSpc>
                <a:spcPct val="90000"/>
              </a:lnSpc>
              <a:defRPr sz="3400" b="1" i="0" baseline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4128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325">
          <p15:clr>
            <a:srgbClr val="FBAE40"/>
          </p15:clr>
        </p15:guide>
        <p15:guide id="3" pos="7355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386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– AVIV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viva word pattern with caucasian gay female couple embracing">
            <a:extLst>
              <a:ext uri="{FF2B5EF4-FFF2-40B4-BE49-F238E27FC236}">
                <a16:creationId xmlns:a16="http://schemas.microsoft.com/office/drawing/2014/main" id="{2AD64D71-CA25-5A48-8A84-DB23B1C33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51DA6673-F086-4D44-833B-69063A0B4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22910"/>
            <a:ext cx="5580062" cy="2103120"/>
          </a:xfrm>
        </p:spPr>
        <p:txBody>
          <a:bodyPr lIns="0" t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52D9946-2F72-CF4F-8C4F-30753DC6B2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767" y="5754461"/>
            <a:ext cx="3817937" cy="784748"/>
          </a:xfrm>
        </p:spPr>
        <p:txBody>
          <a:bodyPr lIns="0" tIns="0" rIns="0" bIns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4288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– AVIV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viva word pattern with black man in his workshop">
            <a:extLst>
              <a:ext uri="{FF2B5EF4-FFF2-40B4-BE49-F238E27FC236}">
                <a16:creationId xmlns:a16="http://schemas.microsoft.com/office/drawing/2014/main" id="{105FEE42-0588-9C48-9359-9234597900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19B977A7-7EB3-314F-820F-0CF11A15F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0298" y="422910"/>
            <a:ext cx="5580062" cy="2103120"/>
          </a:xfrm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E716CED-548B-404A-B6B5-743224B265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0298" y="6368929"/>
            <a:ext cx="3817937" cy="386201"/>
          </a:xfrm>
        </p:spPr>
        <p:txBody>
          <a:bodyPr lIns="0" tIns="0" rIns="0" bIns="0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1828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 Pattern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aucasian father walking along beach with son on his shoulders ">
            <a:extLst>
              <a:ext uri="{FF2B5EF4-FFF2-40B4-BE49-F238E27FC236}">
                <a16:creationId xmlns:a16="http://schemas.microsoft.com/office/drawing/2014/main" id="{B742B2CA-DBE6-4A41-BD7E-9D51999886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30DD394C-467F-654C-AF8A-08CA1300C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517843"/>
            <a:ext cx="4178719" cy="2655203"/>
          </a:xfrm>
          <a:prstGeom prst="rect">
            <a:avLst/>
          </a:prstGeom>
          <a:solidFill>
            <a:schemeClr val="accent2"/>
          </a:solidFill>
        </p:spPr>
        <p:txBody>
          <a:bodyPr vert="horz" lIns="360000" tIns="360000" rIns="360000" bIns="360000" rtlCol="0" anchor="t" anchorCtr="0">
            <a:noAutofit/>
          </a:bodyPr>
          <a:lstStyle>
            <a:lvl1pPr>
              <a:lnSpc>
                <a:spcPct val="100000"/>
              </a:lnSpc>
              <a:defRPr lang="en-GB" sz="4650" b="1" i="0" baseline="0" dirty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marL="0" lvl="0">
              <a:lnSpc>
                <a:spcPts val="4780"/>
              </a:lnSpc>
            </a:pPr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2473379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– Pattern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lack man planting plants in pots, working at a table">
            <a:extLst>
              <a:ext uri="{FF2B5EF4-FFF2-40B4-BE49-F238E27FC236}">
                <a16:creationId xmlns:a16="http://schemas.microsoft.com/office/drawing/2014/main" id="{833AF23E-39F0-4719-BAC2-906C6360DD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7999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7015D2-9BD1-8E4D-AFC2-5A579109F652}"/>
              </a:ext>
            </a:extLst>
          </p:cNvPr>
          <p:cNvSpPr txBox="1">
            <a:spLocks/>
          </p:cNvSpPr>
          <p:nvPr userDrawn="1"/>
        </p:nvSpPr>
        <p:spPr>
          <a:xfrm>
            <a:off x="11760000" y="6323209"/>
            <a:ext cx="432000" cy="216000"/>
          </a:xfrm>
          <a:prstGeom prst="rect">
            <a:avLst/>
          </a:prstGeom>
        </p:spPr>
        <p:txBody>
          <a:bodyPr vert="horz" lIns="0" tIns="45720" rIns="9144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400" baseline="0" smtClean="0">
                <a:solidFill>
                  <a:schemeClr val="bg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bg1"/>
              </a:solidFill>
              <a:latin typeface="Source Sans Pro" panose="020B0503030403020204" pitchFamily="34" charset="77"/>
            </a:endParaRPr>
          </a:p>
        </p:txBody>
      </p:sp>
      <p:pic>
        <p:nvPicPr>
          <p:cNvPr id="13" name="Picture 12" descr="Aviva logo">
            <a:extLst>
              <a:ext uri="{FF2B5EF4-FFF2-40B4-BE49-F238E27FC236}">
                <a16:creationId xmlns:a16="http://schemas.microsoft.com/office/drawing/2014/main" id="{A3DD8F7A-05D8-4290-8E7A-9DAF01980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4921" y="5488094"/>
            <a:ext cx="1293312" cy="1369905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30DD394C-467F-654C-AF8A-08CA1300C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29000"/>
            <a:ext cx="4178719" cy="2557463"/>
          </a:xfrm>
          <a:prstGeom prst="rect">
            <a:avLst/>
          </a:prstGeom>
          <a:solidFill>
            <a:schemeClr val="accent2"/>
          </a:solidFill>
        </p:spPr>
        <p:txBody>
          <a:bodyPr vert="horz" lIns="360000" tIns="360000" rIns="360000" bIns="360000" rtlCol="0" anchor="t" anchorCtr="0">
            <a:noAutofit/>
          </a:bodyPr>
          <a:lstStyle>
            <a:lvl1pPr>
              <a:lnSpc>
                <a:spcPct val="100000"/>
              </a:lnSpc>
              <a:defRPr lang="en-GB" sz="4650" b="1" i="0" baseline="0" dirty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pPr marL="0" lvl="0">
              <a:lnSpc>
                <a:spcPts val="4780"/>
              </a:lnSpc>
            </a:pPr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3750850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1366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9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E1E82B-4C1D-834C-ACDA-E0C9BDE75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3C437-E5E1-7D4E-9906-7A5AD52403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 descr="Aviva logo">
            <a:extLst>
              <a:ext uri="{FF2B5EF4-FFF2-40B4-BE49-F238E27FC236}">
                <a16:creationId xmlns:a16="http://schemas.microsoft.com/office/drawing/2014/main" id="{8D6702B2-C759-4207-8D70-B5C55D449659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rcRect/>
          <a:stretch/>
        </p:blipFill>
        <p:spPr>
          <a:xfrm>
            <a:off x="10384921" y="5492010"/>
            <a:ext cx="1293312" cy="1369905"/>
          </a:xfrm>
          <a:prstGeom prst="rect">
            <a:avLst/>
          </a:prstGeom>
        </p:spPr>
      </p:pic>
      <p:sp>
        <p:nvSpPr>
          <p:cNvPr id="4" name="fl" descr="Aviva: Internal">
            <a:extLst>
              <a:ext uri="{FF2B5EF4-FFF2-40B4-BE49-F238E27FC236}">
                <a16:creationId xmlns:a16="http://schemas.microsoft.com/office/drawing/2014/main" id="{B97528CF-2A31-46F0-8377-0FBD0F5A551B}"/>
              </a:ext>
            </a:extLst>
          </p:cNvPr>
          <p:cNvSpPr txBox="1"/>
          <p:nvPr userDrawn="1"/>
        </p:nvSpPr>
        <p:spPr>
          <a:xfrm>
            <a:off x="0" y="6545580"/>
            <a:ext cx="10163908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endParaRPr lang="en-GB" sz="800" b="0" i="0" u="none" baseline="0" dirty="0">
              <a:solidFill>
                <a:srgbClr val="003DA5"/>
              </a:solidFill>
              <a:latin typeface="Arial" panose="020B0604020202020204" pitchFamily="34" charset="0"/>
            </a:endParaRPr>
          </a:p>
        </p:txBody>
      </p:sp>
      <p:sp>
        <p:nvSpPr>
          <p:cNvPr id="5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8951C798-C8FC-48FF-ACA4-4DB8D89690BF}"/>
              </a:ext>
            </a:extLst>
          </p:cNvPr>
          <p:cNvSpPr txBox="1"/>
          <p:nvPr userDrawn="1"/>
        </p:nvSpPr>
        <p:spPr>
          <a:xfrm>
            <a:off x="0" y="6682362"/>
            <a:ext cx="1024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80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D962E3A2-5840-468A-BBE1-76230F8735E5}"/>
              </a:ext>
            </a:extLst>
          </p:cNvPr>
          <p:cNvSpPr txBox="1"/>
          <p:nvPr userDrawn="1"/>
        </p:nvSpPr>
        <p:spPr>
          <a:xfrm>
            <a:off x="0" y="6629836"/>
            <a:ext cx="1024923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FF0000"/>
                </a:solidFill>
                <a:latin typeface="Calibri" panose="020F0502020204030204" pitchFamily="34" charset="0"/>
              </a:rPr>
              <a:t>Aviva: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14036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600" b="1" i="0" kern="1200">
          <a:solidFill>
            <a:schemeClr val="tx1"/>
          </a:solidFill>
          <a:latin typeface="Source Sans Pro" panose="020B05030304030202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99758FF-AB83-4318-9BB5-71CF433FD5F7}"/>
              </a:ext>
            </a:extLst>
          </p:cNvPr>
          <p:cNvSpPr/>
          <p:nvPr userDrawn="1"/>
        </p:nvSpPr>
        <p:spPr>
          <a:xfrm>
            <a:off x="0" y="6572953"/>
            <a:ext cx="12192000" cy="288000"/>
          </a:xfrm>
          <a:prstGeom prst="rect">
            <a:avLst/>
          </a:prstGeom>
          <a:solidFill>
            <a:srgbClr val="FFD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83D4F5-8027-4B4C-B9F6-52ECFCDF5D8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5214" y="6572952"/>
            <a:ext cx="857172" cy="29653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49A776-F75C-4763-9609-92F63A7B733D}"/>
              </a:ext>
            </a:extLst>
          </p:cNvPr>
          <p:cNvSpPr/>
          <p:nvPr userDrawn="1"/>
        </p:nvSpPr>
        <p:spPr>
          <a:xfrm>
            <a:off x="-1" y="0"/>
            <a:ext cx="12192001" cy="10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E1E82B-4C1D-834C-ACDA-E0C9BDE75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3C437-E5E1-7D4E-9906-7A5AD52403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l" descr="Aviva: Internal">
            <a:extLst>
              <a:ext uri="{FF2B5EF4-FFF2-40B4-BE49-F238E27FC236}">
                <a16:creationId xmlns:a16="http://schemas.microsoft.com/office/drawing/2014/main" id="{B97528CF-2A31-46F0-8377-0FBD0F5A551B}"/>
              </a:ext>
            </a:extLst>
          </p:cNvPr>
          <p:cNvSpPr txBox="1"/>
          <p:nvPr userDrawn="1"/>
        </p:nvSpPr>
        <p:spPr>
          <a:xfrm>
            <a:off x="0" y="6545580"/>
            <a:ext cx="121920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GB" sz="800" b="0" i="0" u="none" baseline="0">
              <a:solidFill>
                <a:srgbClr val="003DA5"/>
              </a:solidFill>
              <a:latin typeface="Arial" panose="020B0604020202020204" pitchFamily="34" charset="0"/>
            </a:endParaRPr>
          </a:p>
        </p:txBody>
      </p:sp>
      <p:sp>
        <p:nvSpPr>
          <p:cNvPr id="5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C69EA0EA-05B0-43F9-A84F-F7898F5B6547}"/>
              </a:ext>
            </a:extLst>
          </p:cNvPr>
          <p:cNvSpPr txBox="1"/>
          <p:nvPr userDrawn="1"/>
        </p:nvSpPr>
        <p:spPr>
          <a:xfrm>
            <a:off x="0" y="6682362"/>
            <a:ext cx="1024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80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B908F6DA-8F06-472C-A49B-590CA11B7833}"/>
              </a:ext>
            </a:extLst>
          </p:cNvPr>
          <p:cNvSpPr txBox="1"/>
          <p:nvPr userDrawn="1"/>
        </p:nvSpPr>
        <p:spPr>
          <a:xfrm>
            <a:off x="0" y="6629836"/>
            <a:ext cx="1024923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FF0000"/>
                </a:solidFill>
                <a:latin typeface="Calibri" panose="020F0502020204030204" pitchFamily="34" charset="0"/>
              </a:rPr>
              <a:t>Aviva: Confidential</a:t>
            </a:r>
          </a:p>
        </p:txBody>
      </p:sp>
    </p:spTree>
    <p:extLst>
      <p:ext uri="{BB962C8B-B14F-4D97-AF65-F5344CB8AC3E}">
        <p14:creationId xmlns:p14="http://schemas.microsoft.com/office/powerpoint/2010/main" val="986669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89A1D4D-7713-421F-8C3C-49EE4D12C4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9010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36" imgH="340" progId="TCLayout.ActiveDocument.1">
                  <p:embed/>
                </p:oleObj>
              </mc:Choice>
              <mc:Fallback>
                <p:oleObj name="think-cell Slide" r:id="rId14" imgW="336" imgH="34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89A1D4D-7713-421F-8C3C-49EE4D12C4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799758FF-AB83-4318-9BB5-71CF433FD5F7}"/>
              </a:ext>
            </a:extLst>
          </p:cNvPr>
          <p:cNvSpPr/>
          <p:nvPr userDrawn="1"/>
        </p:nvSpPr>
        <p:spPr>
          <a:xfrm>
            <a:off x="0" y="6572953"/>
            <a:ext cx="12192000" cy="288000"/>
          </a:xfrm>
          <a:prstGeom prst="rect">
            <a:avLst/>
          </a:prstGeom>
          <a:solidFill>
            <a:srgbClr val="FFD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83D4F5-8027-4B4C-B9F6-52ECFCDF5D83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5214" y="6572952"/>
            <a:ext cx="857172" cy="29653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49A776-F75C-4763-9609-92F63A7B733D}"/>
              </a:ext>
            </a:extLst>
          </p:cNvPr>
          <p:cNvSpPr/>
          <p:nvPr userDrawn="1"/>
        </p:nvSpPr>
        <p:spPr>
          <a:xfrm>
            <a:off x="-1" y="0"/>
            <a:ext cx="12192001" cy="10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E1E82B-4C1D-834C-ACDA-E0C9BDE75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3C437-E5E1-7D4E-9906-7A5AD52403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l" descr="Aviva: Internal">
            <a:extLst>
              <a:ext uri="{FF2B5EF4-FFF2-40B4-BE49-F238E27FC236}">
                <a16:creationId xmlns:a16="http://schemas.microsoft.com/office/drawing/2014/main" id="{B97528CF-2A31-46F0-8377-0FBD0F5A551B}"/>
              </a:ext>
            </a:extLst>
          </p:cNvPr>
          <p:cNvSpPr txBox="1"/>
          <p:nvPr userDrawn="1"/>
        </p:nvSpPr>
        <p:spPr>
          <a:xfrm>
            <a:off x="0" y="6545580"/>
            <a:ext cx="121920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GB" sz="800" b="0" i="0" u="none" baseline="0">
              <a:solidFill>
                <a:srgbClr val="003DA5"/>
              </a:solidFill>
              <a:latin typeface="Arial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CC4623-1A00-43E5-9A23-D4CABCA1A6EB}"/>
              </a:ext>
            </a:extLst>
          </p:cNvPr>
          <p:cNvSpPr txBox="1">
            <a:spLocks/>
          </p:cNvSpPr>
          <p:nvPr userDrawn="1"/>
        </p:nvSpPr>
        <p:spPr>
          <a:xfrm>
            <a:off x="11682476" y="6574973"/>
            <a:ext cx="509524" cy="285875"/>
          </a:xfrm>
          <a:prstGeom prst="rect">
            <a:avLst/>
          </a:prstGeom>
        </p:spPr>
        <p:txBody>
          <a:bodyPr vert="horz" lIns="72000" tIns="45720" rIns="0" bIns="45720" rtlCol="0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Source Sans Pro" pitchFamily="34" charset="0"/>
                <a:ea typeface="Source Sans Pro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fld id="{DC6A5864-62EE-2F48-AEC4-3D428DEAFACA}" type="slidenum">
              <a:rPr lang="en-US" sz="1200" baseline="0" smtClean="0">
                <a:solidFill>
                  <a:schemeClr val="tx1"/>
                </a:solidFill>
                <a:latin typeface="Source Sans Pro" panose="020B0503030403020204" pitchFamily="34" charset="77"/>
              </a:rPr>
              <a:pPr>
                <a:buFontTx/>
                <a:buNone/>
              </a:pPr>
              <a:t>‹#›</a:t>
            </a:fld>
            <a:endParaRPr lang="en-US" sz="1400" baseline="0" dirty="0">
              <a:solidFill>
                <a:schemeClr val="tx1"/>
              </a:solidFill>
              <a:latin typeface="Source Sans Pro" panose="020B0503030403020204" pitchFamily="34" charset="77"/>
            </a:endParaRPr>
          </a:p>
        </p:txBody>
      </p:sp>
      <p:sp>
        <p:nvSpPr>
          <p:cNvPr id="6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7153BDAA-E164-4939-A4DF-BEEEE57A0B23}"/>
              </a:ext>
            </a:extLst>
          </p:cNvPr>
          <p:cNvSpPr txBox="1"/>
          <p:nvPr userDrawn="1"/>
        </p:nvSpPr>
        <p:spPr>
          <a:xfrm>
            <a:off x="0" y="6682362"/>
            <a:ext cx="1024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80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A508155D-6CEA-46AB-B122-E9FE6A86F96F}"/>
              </a:ext>
            </a:extLst>
          </p:cNvPr>
          <p:cNvSpPr txBox="1"/>
          <p:nvPr userDrawn="1"/>
        </p:nvSpPr>
        <p:spPr>
          <a:xfrm>
            <a:off x="0" y="6629836"/>
            <a:ext cx="1024923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FF0000"/>
                </a:solidFill>
                <a:latin typeface="Calibri" panose="020F0502020204030204" pitchFamily="34" charset="0"/>
              </a:rPr>
              <a:t>Aviva: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6607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99758FF-AB83-4318-9BB5-71CF433FD5F7}"/>
              </a:ext>
            </a:extLst>
          </p:cNvPr>
          <p:cNvSpPr/>
          <p:nvPr userDrawn="1"/>
        </p:nvSpPr>
        <p:spPr>
          <a:xfrm>
            <a:off x="0" y="6572953"/>
            <a:ext cx="12192000" cy="288000"/>
          </a:xfrm>
          <a:prstGeom prst="rect">
            <a:avLst/>
          </a:prstGeom>
          <a:solidFill>
            <a:srgbClr val="FFD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83D4F5-8027-4B4C-B9F6-52ECFCDF5D8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5214" y="6572952"/>
            <a:ext cx="857172" cy="29653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49A776-F75C-4763-9609-92F63A7B733D}"/>
              </a:ext>
            </a:extLst>
          </p:cNvPr>
          <p:cNvSpPr/>
          <p:nvPr userDrawn="1"/>
        </p:nvSpPr>
        <p:spPr>
          <a:xfrm>
            <a:off x="-1" y="0"/>
            <a:ext cx="12192001" cy="10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E1E82B-4C1D-834C-ACDA-E0C9BDE75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3C437-E5E1-7D4E-9906-7A5AD52403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fl" descr="Aviva: Internal">
            <a:extLst>
              <a:ext uri="{FF2B5EF4-FFF2-40B4-BE49-F238E27FC236}">
                <a16:creationId xmlns:a16="http://schemas.microsoft.com/office/drawing/2014/main" id="{B97528CF-2A31-46F0-8377-0FBD0F5A551B}"/>
              </a:ext>
            </a:extLst>
          </p:cNvPr>
          <p:cNvSpPr txBox="1"/>
          <p:nvPr userDrawn="1"/>
        </p:nvSpPr>
        <p:spPr>
          <a:xfrm>
            <a:off x="0" y="6545580"/>
            <a:ext cx="121920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GB" sz="800" b="0" i="0" u="none" baseline="0">
              <a:solidFill>
                <a:srgbClr val="003DA5"/>
              </a:solidFill>
              <a:latin typeface="Arial" panose="020B0604020202020204" pitchFamily="34" charset="0"/>
            </a:endParaRPr>
          </a:p>
        </p:txBody>
      </p:sp>
      <p:sp>
        <p:nvSpPr>
          <p:cNvPr id="6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0D9F6BFC-B2D5-4D75-B0A0-0A0D54C6D529}"/>
              </a:ext>
            </a:extLst>
          </p:cNvPr>
          <p:cNvSpPr txBox="1"/>
          <p:nvPr userDrawn="1"/>
        </p:nvSpPr>
        <p:spPr>
          <a:xfrm>
            <a:off x="0" y="6682362"/>
            <a:ext cx="1024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80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7AFF5C92-E3E8-42D4-8019-226D63C320C5}"/>
              </a:ext>
            </a:extLst>
          </p:cNvPr>
          <p:cNvSpPr txBox="1"/>
          <p:nvPr userDrawn="1"/>
        </p:nvSpPr>
        <p:spPr>
          <a:xfrm>
            <a:off x="0" y="6629836"/>
            <a:ext cx="1024923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FF0000"/>
                </a:solidFill>
                <a:latin typeface="Calibri" panose="020F0502020204030204" pitchFamily="34" charset="0"/>
              </a:rPr>
              <a:t>Aviva: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76086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99758FF-AB83-4318-9BB5-71CF433FD5F7}"/>
              </a:ext>
            </a:extLst>
          </p:cNvPr>
          <p:cNvSpPr/>
          <p:nvPr userDrawn="1"/>
        </p:nvSpPr>
        <p:spPr>
          <a:xfrm>
            <a:off x="0" y="6572953"/>
            <a:ext cx="12192000" cy="288000"/>
          </a:xfrm>
          <a:prstGeom prst="rect">
            <a:avLst/>
          </a:prstGeom>
          <a:solidFill>
            <a:srgbClr val="FFD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83D4F5-8027-4B4C-B9F6-52ECFCDF5D8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5214" y="6572952"/>
            <a:ext cx="857172" cy="29653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49A776-F75C-4763-9609-92F63A7B733D}"/>
              </a:ext>
            </a:extLst>
          </p:cNvPr>
          <p:cNvSpPr/>
          <p:nvPr userDrawn="1"/>
        </p:nvSpPr>
        <p:spPr>
          <a:xfrm>
            <a:off x="-1" y="0"/>
            <a:ext cx="12192001" cy="10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E1E82B-4C1D-834C-ACDA-E0C9BDE75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3C437-E5E1-7D4E-9906-7A5AD52403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l" descr="Aviva: Internal">
            <a:extLst>
              <a:ext uri="{FF2B5EF4-FFF2-40B4-BE49-F238E27FC236}">
                <a16:creationId xmlns:a16="http://schemas.microsoft.com/office/drawing/2014/main" id="{B97528CF-2A31-46F0-8377-0FBD0F5A551B}"/>
              </a:ext>
            </a:extLst>
          </p:cNvPr>
          <p:cNvSpPr txBox="1"/>
          <p:nvPr userDrawn="1"/>
        </p:nvSpPr>
        <p:spPr>
          <a:xfrm>
            <a:off x="0" y="6545580"/>
            <a:ext cx="121920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GB" sz="800" b="0" i="0" u="none" baseline="0">
              <a:solidFill>
                <a:srgbClr val="003DA5"/>
              </a:solidFill>
              <a:latin typeface="Arial" panose="020B0604020202020204" pitchFamily="34" charset="0"/>
            </a:endParaRPr>
          </a:p>
        </p:txBody>
      </p:sp>
      <p:sp>
        <p:nvSpPr>
          <p:cNvPr id="8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C63F926F-9849-4EB1-950B-ACFAEA6A7DD7}"/>
              </a:ext>
            </a:extLst>
          </p:cNvPr>
          <p:cNvSpPr txBox="1"/>
          <p:nvPr userDrawn="1"/>
        </p:nvSpPr>
        <p:spPr>
          <a:xfrm>
            <a:off x="0" y="6682362"/>
            <a:ext cx="1024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80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MSIPCMContentMarking" descr="{&quot;HashCode&quot;:-1095938599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AAB310C4-E62F-4207-A383-E01DB5B97153}"/>
              </a:ext>
            </a:extLst>
          </p:cNvPr>
          <p:cNvSpPr txBox="1"/>
          <p:nvPr userDrawn="1"/>
        </p:nvSpPr>
        <p:spPr>
          <a:xfrm>
            <a:off x="0" y="6629836"/>
            <a:ext cx="1024923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FF0000"/>
                </a:solidFill>
                <a:latin typeface="Calibri" panose="020F0502020204030204" pitchFamily="34" charset="0"/>
              </a:rPr>
              <a:t>Aviva: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0916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FFEB1BE-793E-43E7-9C1B-1972770ECADC}"/>
              </a:ext>
            </a:extLst>
          </p:cNvPr>
          <p:cNvSpPr txBox="1">
            <a:spLocks/>
          </p:cNvSpPr>
          <p:nvPr/>
        </p:nvSpPr>
        <p:spPr>
          <a:xfrm>
            <a:off x="398712" y="4967926"/>
            <a:ext cx="5551396" cy="144544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650" b="1" i="0" kern="1200" baseline="0">
                <a:solidFill>
                  <a:schemeClr val="bg1"/>
                </a:solidFill>
                <a:latin typeface="Source Sans Pro" panose="020B0503030403020204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chemeClr val="accent2"/>
                </a:solidFill>
              </a:rPr>
              <a:t>Bradley All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chemeClr val="accent2"/>
                </a:solidFill>
              </a:rPr>
              <a:t>6</a:t>
            </a:r>
            <a:r>
              <a:rPr lang="en-GB" sz="2800" dirty="0">
                <a:solidFill>
                  <a:schemeClr val="accent2"/>
                </a:solidFill>
              </a:rPr>
              <a:t>th</a:t>
            </a:r>
            <a:r>
              <a:rPr lang="en-GB" dirty="0">
                <a:solidFill>
                  <a:schemeClr val="accent2"/>
                </a:solidFill>
              </a:rPr>
              <a:t> November 2023</a:t>
            </a:r>
            <a:endParaRPr kumimoji="0" lang="en-GB" sz="465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ource Sans Pro" panose="020B0503030403020204" pitchFamily="34" charset="77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DDDA7-A19B-A13A-A274-E08EC764ED91}"/>
              </a:ext>
            </a:extLst>
          </p:cNvPr>
          <p:cNvSpPr txBox="1">
            <a:spLocks/>
          </p:cNvSpPr>
          <p:nvPr/>
        </p:nvSpPr>
        <p:spPr>
          <a:xfrm>
            <a:off x="544603" y="456157"/>
            <a:ext cx="11304890" cy="80654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650" b="1" i="0" kern="1200" baseline="0">
                <a:solidFill>
                  <a:schemeClr val="bg1"/>
                </a:solidFill>
                <a:latin typeface="Source Sans Pro" panose="020B0503030403020204" pitchFamily="34" charset="77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dirty="0">
                <a:solidFill>
                  <a:schemeClr val="accent2"/>
                </a:solidFill>
              </a:rPr>
              <a:t>Desk Booking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65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ource Sans Pro" panose="020B0503030403020204" pitchFamily="34" charset="77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91064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467E6-B03F-73F5-E7EF-82777DE3F2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GB" dirty="0"/>
              <a:t>Map Example #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EFD783-D760-6E6D-FD33-3950204FD1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GB" dirty="0"/>
              <a:t>Map Example #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12402E-1C9B-6A4F-818E-4C3B0CFA8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Wireframes - 3/4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1F38727-D2D2-B65F-E5BD-A16AAA70111E}"/>
              </a:ext>
            </a:extLst>
          </p:cNvPr>
          <p:cNvSpPr/>
          <p:nvPr/>
        </p:nvSpPr>
        <p:spPr>
          <a:xfrm>
            <a:off x="111759" y="1961179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368C68F-055B-19C3-726B-2C515346D827}"/>
              </a:ext>
            </a:extLst>
          </p:cNvPr>
          <p:cNvSpPr/>
          <p:nvPr/>
        </p:nvSpPr>
        <p:spPr>
          <a:xfrm>
            <a:off x="386080" y="2194560"/>
            <a:ext cx="5238778" cy="4165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Eastleigh Office – Floor 1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E8C1AE2-53A0-3CCD-935D-2E6E75900328}"/>
              </a:ext>
            </a:extLst>
          </p:cNvPr>
          <p:cNvSpPr/>
          <p:nvPr/>
        </p:nvSpPr>
        <p:spPr>
          <a:xfrm>
            <a:off x="2946400" y="5577164"/>
            <a:ext cx="2716825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Log Out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CBEFB3A-13D2-69FA-23CB-33275C597720}"/>
              </a:ext>
            </a:extLst>
          </p:cNvPr>
          <p:cNvSpPr/>
          <p:nvPr/>
        </p:nvSpPr>
        <p:spPr>
          <a:xfrm>
            <a:off x="6238242" y="1961179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4DA3CFD-FC3B-4E9E-B7E9-919C17A62BD2}"/>
              </a:ext>
            </a:extLst>
          </p:cNvPr>
          <p:cNvSpPr/>
          <p:nvPr/>
        </p:nvSpPr>
        <p:spPr>
          <a:xfrm>
            <a:off x="6512562" y="2194560"/>
            <a:ext cx="5238778" cy="4165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Sheffield Office – Floor 2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5C202C6E-386C-5861-FE59-303FAA188C9B}"/>
              </a:ext>
            </a:extLst>
          </p:cNvPr>
          <p:cNvSpPr/>
          <p:nvPr/>
        </p:nvSpPr>
        <p:spPr>
          <a:xfrm>
            <a:off x="9072882" y="5577164"/>
            <a:ext cx="2716825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Log Out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2E9F271F-E71D-583E-5B0A-A5FF4AEEDB20}"/>
              </a:ext>
            </a:extLst>
          </p:cNvPr>
          <p:cNvSpPr/>
          <p:nvPr/>
        </p:nvSpPr>
        <p:spPr>
          <a:xfrm>
            <a:off x="6529691" y="5577164"/>
            <a:ext cx="2425374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Hom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9E271D3-7EEC-004C-96A2-90CBDB0ACE14}"/>
              </a:ext>
            </a:extLst>
          </p:cNvPr>
          <p:cNvSpPr/>
          <p:nvPr/>
        </p:nvSpPr>
        <p:spPr>
          <a:xfrm>
            <a:off x="424447" y="5577164"/>
            <a:ext cx="2425374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Go Back</a:t>
            </a:r>
          </a:p>
        </p:txBody>
      </p:sp>
      <p:pic>
        <p:nvPicPr>
          <p:cNvPr id="4098" name="Picture 2" descr="image">
            <a:extLst>
              <a:ext uri="{FF2B5EF4-FFF2-40B4-BE49-F238E27FC236}">
                <a16:creationId xmlns:a16="http://schemas.microsoft.com/office/drawing/2014/main" id="{338AC51A-9B6B-6002-5427-09698BECBF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886" y="2770944"/>
            <a:ext cx="2796074" cy="2647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15F9652-ED39-E850-91AE-593765FEFE08}"/>
              </a:ext>
            </a:extLst>
          </p:cNvPr>
          <p:cNvGrpSpPr/>
          <p:nvPr/>
        </p:nvGrpSpPr>
        <p:grpSpPr>
          <a:xfrm>
            <a:off x="6566226" y="2611120"/>
            <a:ext cx="4818380" cy="2767013"/>
            <a:chOff x="533400" y="457200"/>
            <a:chExt cx="8166100" cy="5865813"/>
          </a:xfrm>
        </p:grpSpPr>
        <p:sp>
          <p:nvSpPr>
            <p:cNvPr id="11" name="Text Box 3">
              <a:extLst>
                <a:ext uri="{FF2B5EF4-FFF2-40B4-BE49-F238E27FC236}">
                  <a16:creationId xmlns:a16="http://schemas.microsoft.com/office/drawing/2014/main" id="{B499F818-FB1F-58F5-F02A-2195C2A1CC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91000" y="457200"/>
              <a:ext cx="1752600" cy="3016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600" b="1" u="sng" dirty="0">
                <a:latin typeface="NewsGoth BT" pitchFamily="34" charset="0"/>
              </a:endParaRP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06F84AE5-69FA-7ECF-4A5B-245550DEFFE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52613" y="3660775"/>
              <a:ext cx="982662" cy="1808163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E086EF92-61A2-57E3-0129-2C5FB95AC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3250" y="2528888"/>
              <a:ext cx="465138" cy="301625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EA426CDB-7ADA-8F46-8283-E5921A6D147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361784">
              <a:off x="1204913" y="3333750"/>
              <a:ext cx="233362" cy="677863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DB874184-9E1D-E04D-946A-AE171C06D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313" y="1173163"/>
              <a:ext cx="1085850" cy="527050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9EFB1144-9817-8D04-C4BF-E318A7514F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313" y="1474788"/>
              <a:ext cx="388937" cy="2254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7792BE8E-36D3-537D-21FA-42709B85AB9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52613" y="5318125"/>
              <a:ext cx="3568700" cy="979488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90AB1C7A-FDE7-F835-A031-E28B4AF75C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113" y="2906713"/>
              <a:ext cx="5792787" cy="503237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24" name="Rectangle 16">
              <a:extLst>
                <a:ext uri="{FF2B5EF4-FFF2-40B4-BE49-F238E27FC236}">
                  <a16:creationId xmlns:a16="http://schemas.microsoft.com/office/drawing/2014/main" id="{EB68C132-0FD0-9EA9-BCC7-E0E3382E0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638" y="1700213"/>
              <a:ext cx="4991100" cy="679450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27" name="Rectangle 17">
              <a:extLst>
                <a:ext uri="{FF2B5EF4-FFF2-40B4-BE49-F238E27FC236}">
                  <a16:creationId xmlns:a16="http://schemas.microsoft.com/office/drawing/2014/main" id="{5B0F5E1E-8D9E-3114-B3FA-B62348CD801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1361784">
              <a:off x="973138" y="846138"/>
              <a:ext cx="776287" cy="1658937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28" name="Rectangle 18">
              <a:extLst>
                <a:ext uri="{FF2B5EF4-FFF2-40B4-BE49-F238E27FC236}">
                  <a16:creationId xmlns:a16="http://schemas.microsoft.com/office/drawing/2014/main" id="{CD176A21-B487-F5E3-5D48-6D621C119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7675" y="3409950"/>
              <a:ext cx="698500" cy="2254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29" name="Rectangle 19" descr="Light vertical">
              <a:extLst>
                <a:ext uri="{FF2B5EF4-FFF2-40B4-BE49-F238E27FC236}">
                  <a16:creationId xmlns:a16="http://schemas.microsoft.com/office/drawing/2014/main" id="{5D65A2AB-2690-6821-B05E-772AF7F43D8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flipV="1">
              <a:off x="4310063" y="3484563"/>
              <a:ext cx="231775" cy="109537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30" name="Line 20">
              <a:extLst>
                <a:ext uri="{FF2B5EF4-FFF2-40B4-BE49-F238E27FC236}">
                  <a16:creationId xmlns:a16="http://schemas.microsoft.com/office/drawing/2014/main" id="{16703A9E-09DB-46D9-4B25-5BB51E9F33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59550" y="1676400"/>
              <a:ext cx="1555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Rectangle 21" descr="Light vertical">
              <a:extLst>
                <a:ext uri="{FF2B5EF4-FFF2-40B4-BE49-F238E27FC236}">
                  <a16:creationId xmlns:a16="http://schemas.microsoft.com/office/drawing/2014/main" id="{C72E6E34-B8AB-4190-CBFB-6E2BC0A34B9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102100" y="1247775"/>
              <a:ext cx="288925" cy="136525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34" name="Rectangle 22">
              <a:extLst>
                <a:ext uri="{FF2B5EF4-FFF2-40B4-BE49-F238E27FC236}">
                  <a16:creationId xmlns:a16="http://schemas.microsoft.com/office/drawing/2014/main" id="{10ECD80F-9064-B3A2-8D8D-48B4C37C0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1625600"/>
              <a:ext cx="153987" cy="1508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6AB3CA9B-9470-AF47-E502-A805D78AE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1138" y="1677988"/>
              <a:ext cx="155575" cy="15081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36" name="Rectangle 24">
              <a:extLst>
                <a:ext uri="{FF2B5EF4-FFF2-40B4-BE49-F238E27FC236}">
                  <a16:creationId xmlns:a16="http://schemas.microsoft.com/office/drawing/2014/main" id="{B4339106-7EBF-D11E-4A23-5AB10CD0E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425" y="2001838"/>
              <a:ext cx="77788" cy="3524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37" name="Group 28">
              <a:extLst>
                <a:ext uri="{FF2B5EF4-FFF2-40B4-BE49-F238E27FC236}">
                  <a16:creationId xmlns:a16="http://schemas.microsoft.com/office/drawing/2014/main" id="{2A233A32-2A7C-F4D2-4B35-A1198A1DE9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179888" y="1474788"/>
              <a:ext cx="93662" cy="225425"/>
              <a:chOff x="1882" y="550"/>
              <a:chExt cx="1592" cy="4268"/>
            </a:xfrm>
          </p:grpSpPr>
          <p:sp>
            <p:nvSpPr>
              <p:cNvPr id="4226" name="Freeform 29">
                <a:extLst>
                  <a:ext uri="{FF2B5EF4-FFF2-40B4-BE49-F238E27FC236}">
                    <a16:creationId xmlns:a16="http://schemas.microsoft.com/office/drawing/2014/main" id="{14CE4C5D-4270-DE12-D59D-8A0C56DEC68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2" y="1363"/>
                <a:ext cx="1592" cy="3455"/>
              </a:xfrm>
              <a:custGeom>
                <a:avLst/>
                <a:gdLst>
                  <a:gd name="T0" fmla="*/ 1242 w 1592"/>
                  <a:gd name="T1" fmla="*/ 2 h 3455"/>
                  <a:gd name="T2" fmla="*/ 1307 w 1592"/>
                  <a:gd name="T3" fmla="*/ 12 h 3455"/>
                  <a:gd name="T4" fmla="*/ 1372 w 1592"/>
                  <a:gd name="T5" fmla="*/ 30 h 3455"/>
                  <a:gd name="T6" fmla="*/ 1427 w 1592"/>
                  <a:gd name="T7" fmla="*/ 57 h 3455"/>
                  <a:gd name="T8" fmla="*/ 1497 w 1592"/>
                  <a:gd name="T9" fmla="*/ 105 h 3455"/>
                  <a:gd name="T10" fmla="*/ 1552 w 1592"/>
                  <a:gd name="T11" fmla="*/ 165 h 3455"/>
                  <a:gd name="T12" fmla="*/ 1590 w 1592"/>
                  <a:gd name="T13" fmla="*/ 242 h 3455"/>
                  <a:gd name="T14" fmla="*/ 1590 w 1592"/>
                  <a:gd name="T15" fmla="*/ 1572 h 3455"/>
                  <a:gd name="T16" fmla="*/ 1575 w 1592"/>
                  <a:gd name="T17" fmla="*/ 1617 h 3455"/>
                  <a:gd name="T18" fmla="*/ 1542 w 1592"/>
                  <a:gd name="T19" fmla="*/ 1662 h 3455"/>
                  <a:gd name="T20" fmla="*/ 1487 w 1592"/>
                  <a:gd name="T21" fmla="*/ 1692 h 3455"/>
                  <a:gd name="T22" fmla="*/ 1427 w 1592"/>
                  <a:gd name="T23" fmla="*/ 1695 h 3455"/>
                  <a:gd name="T24" fmla="*/ 1375 w 1592"/>
                  <a:gd name="T25" fmla="*/ 1680 h 3455"/>
                  <a:gd name="T26" fmla="*/ 1337 w 1592"/>
                  <a:gd name="T27" fmla="*/ 1642 h 3455"/>
                  <a:gd name="T28" fmla="*/ 1320 w 1592"/>
                  <a:gd name="T29" fmla="*/ 1607 h 3455"/>
                  <a:gd name="T30" fmla="*/ 1307 w 1592"/>
                  <a:gd name="T31" fmla="*/ 1567 h 3455"/>
                  <a:gd name="T32" fmla="*/ 1217 w 1592"/>
                  <a:gd name="T33" fmla="*/ 3262 h 3455"/>
                  <a:gd name="T34" fmla="*/ 1200 w 1592"/>
                  <a:gd name="T35" fmla="*/ 3345 h 3455"/>
                  <a:gd name="T36" fmla="*/ 1152 w 1592"/>
                  <a:gd name="T37" fmla="*/ 3412 h 3455"/>
                  <a:gd name="T38" fmla="*/ 1090 w 1592"/>
                  <a:gd name="T39" fmla="*/ 3445 h 3455"/>
                  <a:gd name="T40" fmla="*/ 1035 w 1592"/>
                  <a:gd name="T41" fmla="*/ 3455 h 3455"/>
                  <a:gd name="T42" fmla="*/ 962 w 1592"/>
                  <a:gd name="T43" fmla="*/ 3445 h 3455"/>
                  <a:gd name="T44" fmla="*/ 905 w 1592"/>
                  <a:gd name="T45" fmla="*/ 3407 h 3455"/>
                  <a:gd name="T46" fmla="*/ 862 w 1592"/>
                  <a:gd name="T47" fmla="*/ 3355 h 3455"/>
                  <a:gd name="T48" fmla="*/ 842 w 1592"/>
                  <a:gd name="T49" fmla="*/ 3305 h 3455"/>
                  <a:gd name="T50" fmla="*/ 748 w 1592"/>
                  <a:gd name="T51" fmla="*/ 1655 h 3455"/>
                  <a:gd name="T52" fmla="*/ 738 w 1592"/>
                  <a:gd name="T53" fmla="*/ 3320 h 3455"/>
                  <a:gd name="T54" fmla="*/ 698 w 1592"/>
                  <a:gd name="T55" fmla="*/ 3395 h 3455"/>
                  <a:gd name="T56" fmla="*/ 630 w 1592"/>
                  <a:gd name="T57" fmla="*/ 3442 h 3455"/>
                  <a:gd name="T58" fmla="*/ 545 w 1592"/>
                  <a:gd name="T59" fmla="*/ 3455 h 3455"/>
                  <a:gd name="T60" fmla="*/ 483 w 1592"/>
                  <a:gd name="T61" fmla="*/ 3440 h 3455"/>
                  <a:gd name="T62" fmla="*/ 423 w 1592"/>
                  <a:gd name="T63" fmla="*/ 3397 h 3455"/>
                  <a:gd name="T64" fmla="*/ 385 w 1592"/>
                  <a:gd name="T65" fmla="*/ 3345 h 3455"/>
                  <a:gd name="T66" fmla="*/ 370 w 1592"/>
                  <a:gd name="T67" fmla="*/ 3277 h 3455"/>
                  <a:gd name="T68" fmla="*/ 280 w 1592"/>
                  <a:gd name="T69" fmla="*/ 1567 h 3455"/>
                  <a:gd name="T70" fmla="*/ 263 w 1592"/>
                  <a:gd name="T71" fmla="*/ 1620 h 3455"/>
                  <a:gd name="T72" fmla="*/ 240 w 1592"/>
                  <a:gd name="T73" fmla="*/ 1652 h 3455"/>
                  <a:gd name="T74" fmla="*/ 208 w 1592"/>
                  <a:gd name="T75" fmla="*/ 1682 h 3455"/>
                  <a:gd name="T76" fmla="*/ 170 w 1592"/>
                  <a:gd name="T77" fmla="*/ 1695 h 3455"/>
                  <a:gd name="T78" fmla="*/ 123 w 1592"/>
                  <a:gd name="T79" fmla="*/ 1695 h 3455"/>
                  <a:gd name="T80" fmla="*/ 83 w 1592"/>
                  <a:gd name="T81" fmla="*/ 1687 h 3455"/>
                  <a:gd name="T82" fmla="*/ 50 w 1592"/>
                  <a:gd name="T83" fmla="*/ 1667 h 3455"/>
                  <a:gd name="T84" fmla="*/ 23 w 1592"/>
                  <a:gd name="T85" fmla="*/ 1637 h 3455"/>
                  <a:gd name="T86" fmla="*/ 5 w 1592"/>
                  <a:gd name="T87" fmla="*/ 1600 h 3455"/>
                  <a:gd name="T88" fmla="*/ 0 w 1592"/>
                  <a:gd name="T89" fmla="*/ 282 h 3455"/>
                  <a:gd name="T90" fmla="*/ 33 w 1592"/>
                  <a:gd name="T91" fmla="*/ 172 h 3455"/>
                  <a:gd name="T92" fmla="*/ 93 w 1592"/>
                  <a:gd name="T93" fmla="*/ 105 h 3455"/>
                  <a:gd name="T94" fmla="*/ 195 w 1592"/>
                  <a:gd name="T95" fmla="*/ 42 h 3455"/>
                  <a:gd name="T96" fmla="*/ 303 w 1592"/>
                  <a:gd name="T97" fmla="*/ 10 h 345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592" h="3455">
                    <a:moveTo>
                      <a:pt x="380" y="0"/>
                    </a:moveTo>
                    <a:lnTo>
                      <a:pt x="1220" y="2"/>
                    </a:lnTo>
                    <a:lnTo>
                      <a:pt x="1242" y="2"/>
                    </a:lnTo>
                    <a:lnTo>
                      <a:pt x="1265" y="5"/>
                    </a:lnTo>
                    <a:lnTo>
                      <a:pt x="1287" y="7"/>
                    </a:lnTo>
                    <a:lnTo>
                      <a:pt x="1307" y="12"/>
                    </a:lnTo>
                    <a:lnTo>
                      <a:pt x="1327" y="17"/>
                    </a:lnTo>
                    <a:lnTo>
                      <a:pt x="1350" y="22"/>
                    </a:lnTo>
                    <a:lnTo>
                      <a:pt x="1372" y="30"/>
                    </a:lnTo>
                    <a:lnTo>
                      <a:pt x="1392" y="37"/>
                    </a:lnTo>
                    <a:lnTo>
                      <a:pt x="1410" y="47"/>
                    </a:lnTo>
                    <a:lnTo>
                      <a:pt x="1427" y="57"/>
                    </a:lnTo>
                    <a:lnTo>
                      <a:pt x="1452" y="72"/>
                    </a:lnTo>
                    <a:lnTo>
                      <a:pt x="1472" y="85"/>
                    </a:lnTo>
                    <a:lnTo>
                      <a:pt x="1497" y="105"/>
                    </a:lnTo>
                    <a:lnTo>
                      <a:pt x="1520" y="125"/>
                    </a:lnTo>
                    <a:lnTo>
                      <a:pt x="1537" y="145"/>
                    </a:lnTo>
                    <a:lnTo>
                      <a:pt x="1552" y="165"/>
                    </a:lnTo>
                    <a:lnTo>
                      <a:pt x="1570" y="192"/>
                    </a:lnTo>
                    <a:lnTo>
                      <a:pt x="1577" y="212"/>
                    </a:lnTo>
                    <a:lnTo>
                      <a:pt x="1590" y="242"/>
                    </a:lnTo>
                    <a:lnTo>
                      <a:pt x="1592" y="267"/>
                    </a:lnTo>
                    <a:lnTo>
                      <a:pt x="1592" y="290"/>
                    </a:lnTo>
                    <a:lnTo>
                      <a:pt x="1590" y="1572"/>
                    </a:lnTo>
                    <a:lnTo>
                      <a:pt x="1587" y="1587"/>
                    </a:lnTo>
                    <a:lnTo>
                      <a:pt x="1580" y="1600"/>
                    </a:lnTo>
                    <a:lnTo>
                      <a:pt x="1575" y="1617"/>
                    </a:lnTo>
                    <a:lnTo>
                      <a:pt x="1570" y="1630"/>
                    </a:lnTo>
                    <a:lnTo>
                      <a:pt x="1555" y="1645"/>
                    </a:lnTo>
                    <a:lnTo>
                      <a:pt x="1542" y="1662"/>
                    </a:lnTo>
                    <a:lnTo>
                      <a:pt x="1525" y="1675"/>
                    </a:lnTo>
                    <a:lnTo>
                      <a:pt x="1502" y="1687"/>
                    </a:lnTo>
                    <a:lnTo>
                      <a:pt x="1487" y="1692"/>
                    </a:lnTo>
                    <a:lnTo>
                      <a:pt x="1467" y="1695"/>
                    </a:lnTo>
                    <a:lnTo>
                      <a:pt x="1447" y="1695"/>
                    </a:lnTo>
                    <a:lnTo>
                      <a:pt x="1427" y="1695"/>
                    </a:lnTo>
                    <a:lnTo>
                      <a:pt x="1407" y="1692"/>
                    </a:lnTo>
                    <a:lnTo>
                      <a:pt x="1390" y="1685"/>
                    </a:lnTo>
                    <a:lnTo>
                      <a:pt x="1375" y="1680"/>
                    </a:lnTo>
                    <a:lnTo>
                      <a:pt x="1362" y="1667"/>
                    </a:lnTo>
                    <a:lnTo>
                      <a:pt x="1350" y="1657"/>
                    </a:lnTo>
                    <a:lnTo>
                      <a:pt x="1337" y="1642"/>
                    </a:lnTo>
                    <a:lnTo>
                      <a:pt x="1330" y="1630"/>
                    </a:lnTo>
                    <a:lnTo>
                      <a:pt x="1320" y="1620"/>
                    </a:lnTo>
                    <a:lnTo>
                      <a:pt x="1320" y="1607"/>
                    </a:lnTo>
                    <a:lnTo>
                      <a:pt x="1315" y="1595"/>
                    </a:lnTo>
                    <a:lnTo>
                      <a:pt x="1310" y="1585"/>
                    </a:lnTo>
                    <a:lnTo>
                      <a:pt x="1307" y="1567"/>
                    </a:lnTo>
                    <a:lnTo>
                      <a:pt x="1310" y="585"/>
                    </a:lnTo>
                    <a:lnTo>
                      <a:pt x="1217" y="585"/>
                    </a:lnTo>
                    <a:lnTo>
                      <a:pt x="1217" y="3262"/>
                    </a:lnTo>
                    <a:lnTo>
                      <a:pt x="1217" y="3287"/>
                    </a:lnTo>
                    <a:lnTo>
                      <a:pt x="1210" y="3317"/>
                    </a:lnTo>
                    <a:lnTo>
                      <a:pt x="1200" y="3345"/>
                    </a:lnTo>
                    <a:lnTo>
                      <a:pt x="1187" y="3372"/>
                    </a:lnTo>
                    <a:lnTo>
                      <a:pt x="1167" y="3392"/>
                    </a:lnTo>
                    <a:lnTo>
                      <a:pt x="1152" y="3412"/>
                    </a:lnTo>
                    <a:lnTo>
                      <a:pt x="1135" y="3422"/>
                    </a:lnTo>
                    <a:lnTo>
                      <a:pt x="1112" y="3440"/>
                    </a:lnTo>
                    <a:lnTo>
                      <a:pt x="1090" y="3445"/>
                    </a:lnTo>
                    <a:lnTo>
                      <a:pt x="1070" y="3450"/>
                    </a:lnTo>
                    <a:lnTo>
                      <a:pt x="1052" y="3452"/>
                    </a:lnTo>
                    <a:lnTo>
                      <a:pt x="1035" y="3455"/>
                    </a:lnTo>
                    <a:lnTo>
                      <a:pt x="1015" y="3455"/>
                    </a:lnTo>
                    <a:lnTo>
                      <a:pt x="990" y="3452"/>
                    </a:lnTo>
                    <a:lnTo>
                      <a:pt x="962" y="3445"/>
                    </a:lnTo>
                    <a:lnTo>
                      <a:pt x="940" y="3432"/>
                    </a:lnTo>
                    <a:lnTo>
                      <a:pt x="920" y="3422"/>
                    </a:lnTo>
                    <a:lnTo>
                      <a:pt x="905" y="3407"/>
                    </a:lnTo>
                    <a:lnTo>
                      <a:pt x="890" y="3397"/>
                    </a:lnTo>
                    <a:lnTo>
                      <a:pt x="875" y="3375"/>
                    </a:lnTo>
                    <a:lnTo>
                      <a:pt x="862" y="3355"/>
                    </a:lnTo>
                    <a:lnTo>
                      <a:pt x="855" y="3342"/>
                    </a:lnTo>
                    <a:lnTo>
                      <a:pt x="850" y="3322"/>
                    </a:lnTo>
                    <a:lnTo>
                      <a:pt x="842" y="3305"/>
                    </a:lnTo>
                    <a:lnTo>
                      <a:pt x="840" y="3285"/>
                    </a:lnTo>
                    <a:lnTo>
                      <a:pt x="840" y="1655"/>
                    </a:lnTo>
                    <a:lnTo>
                      <a:pt x="748" y="1655"/>
                    </a:lnTo>
                    <a:lnTo>
                      <a:pt x="745" y="3275"/>
                    </a:lnTo>
                    <a:lnTo>
                      <a:pt x="743" y="3300"/>
                    </a:lnTo>
                    <a:lnTo>
                      <a:pt x="738" y="3320"/>
                    </a:lnTo>
                    <a:lnTo>
                      <a:pt x="725" y="3347"/>
                    </a:lnTo>
                    <a:lnTo>
                      <a:pt x="715" y="3370"/>
                    </a:lnTo>
                    <a:lnTo>
                      <a:pt x="698" y="3395"/>
                    </a:lnTo>
                    <a:lnTo>
                      <a:pt x="678" y="3415"/>
                    </a:lnTo>
                    <a:lnTo>
                      <a:pt x="655" y="3430"/>
                    </a:lnTo>
                    <a:lnTo>
                      <a:pt x="630" y="3442"/>
                    </a:lnTo>
                    <a:lnTo>
                      <a:pt x="600" y="3452"/>
                    </a:lnTo>
                    <a:lnTo>
                      <a:pt x="573" y="3455"/>
                    </a:lnTo>
                    <a:lnTo>
                      <a:pt x="545" y="3455"/>
                    </a:lnTo>
                    <a:lnTo>
                      <a:pt x="523" y="3452"/>
                    </a:lnTo>
                    <a:lnTo>
                      <a:pt x="503" y="3447"/>
                    </a:lnTo>
                    <a:lnTo>
                      <a:pt x="483" y="3440"/>
                    </a:lnTo>
                    <a:lnTo>
                      <a:pt x="463" y="3430"/>
                    </a:lnTo>
                    <a:lnTo>
                      <a:pt x="443" y="3417"/>
                    </a:lnTo>
                    <a:lnTo>
                      <a:pt x="423" y="3397"/>
                    </a:lnTo>
                    <a:lnTo>
                      <a:pt x="413" y="3382"/>
                    </a:lnTo>
                    <a:lnTo>
                      <a:pt x="398" y="3365"/>
                    </a:lnTo>
                    <a:lnTo>
                      <a:pt x="385" y="3345"/>
                    </a:lnTo>
                    <a:lnTo>
                      <a:pt x="383" y="3325"/>
                    </a:lnTo>
                    <a:lnTo>
                      <a:pt x="378" y="3310"/>
                    </a:lnTo>
                    <a:lnTo>
                      <a:pt x="370" y="3277"/>
                    </a:lnTo>
                    <a:lnTo>
                      <a:pt x="373" y="585"/>
                    </a:lnTo>
                    <a:lnTo>
                      <a:pt x="280" y="585"/>
                    </a:lnTo>
                    <a:lnTo>
                      <a:pt x="280" y="1567"/>
                    </a:lnTo>
                    <a:lnTo>
                      <a:pt x="275" y="1585"/>
                    </a:lnTo>
                    <a:lnTo>
                      <a:pt x="270" y="1605"/>
                    </a:lnTo>
                    <a:lnTo>
                      <a:pt x="263" y="1620"/>
                    </a:lnTo>
                    <a:lnTo>
                      <a:pt x="253" y="1637"/>
                    </a:lnTo>
                    <a:lnTo>
                      <a:pt x="250" y="1642"/>
                    </a:lnTo>
                    <a:lnTo>
                      <a:pt x="240" y="1652"/>
                    </a:lnTo>
                    <a:lnTo>
                      <a:pt x="230" y="1662"/>
                    </a:lnTo>
                    <a:lnTo>
                      <a:pt x="220" y="1670"/>
                    </a:lnTo>
                    <a:lnTo>
                      <a:pt x="208" y="1682"/>
                    </a:lnTo>
                    <a:lnTo>
                      <a:pt x="198" y="1685"/>
                    </a:lnTo>
                    <a:lnTo>
                      <a:pt x="183" y="1692"/>
                    </a:lnTo>
                    <a:lnTo>
                      <a:pt x="170" y="1695"/>
                    </a:lnTo>
                    <a:lnTo>
                      <a:pt x="160" y="1695"/>
                    </a:lnTo>
                    <a:lnTo>
                      <a:pt x="150" y="1695"/>
                    </a:lnTo>
                    <a:lnTo>
                      <a:pt x="123" y="1695"/>
                    </a:lnTo>
                    <a:lnTo>
                      <a:pt x="113" y="1695"/>
                    </a:lnTo>
                    <a:lnTo>
                      <a:pt x="100" y="1692"/>
                    </a:lnTo>
                    <a:lnTo>
                      <a:pt x="83" y="1687"/>
                    </a:lnTo>
                    <a:lnTo>
                      <a:pt x="75" y="1682"/>
                    </a:lnTo>
                    <a:lnTo>
                      <a:pt x="63" y="1675"/>
                    </a:lnTo>
                    <a:lnTo>
                      <a:pt x="50" y="1667"/>
                    </a:lnTo>
                    <a:lnTo>
                      <a:pt x="43" y="1660"/>
                    </a:lnTo>
                    <a:lnTo>
                      <a:pt x="33" y="1645"/>
                    </a:lnTo>
                    <a:lnTo>
                      <a:pt x="23" y="1637"/>
                    </a:lnTo>
                    <a:lnTo>
                      <a:pt x="15" y="1625"/>
                    </a:lnTo>
                    <a:lnTo>
                      <a:pt x="13" y="1617"/>
                    </a:lnTo>
                    <a:lnTo>
                      <a:pt x="5" y="1600"/>
                    </a:lnTo>
                    <a:lnTo>
                      <a:pt x="3" y="1587"/>
                    </a:lnTo>
                    <a:lnTo>
                      <a:pt x="0" y="1572"/>
                    </a:lnTo>
                    <a:lnTo>
                      <a:pt x="0" y="282"/>
                    </a:lnTo>
                    <a:lnTo>
                      <a:pt x="3" y="240"/>
                    </a:lnTo>
                    <a:lnTo>
                      <a:pt x="13" y="205"/>
                    </a:lnTo>
                    <a:lnTo>
                      <a:pt x="33" y="172"/>
                    </a:lnTo>
                    <a:lnTo>
                      <a:pt x="50" y="147"/>
                    </a:lnTo>
                    <a:lnTo>
                      <a:pt x="73" y="127"/>
                    </a:lnTo>
                    <a:lnTo>
                      <a:pt x="93" y="105"/>
                    </a:lnTo>
                    <a:lnTo>
                      <a:pt x="128" y="80"/>
                    </a:lnTo>
                    <a:lnTo>
                      <a:pt x="165" y="57"/>
                    </a:lnTo>
                    <a:lnTo>
                      <a:pt x="195" y="42"/>
                    </a:lnTo>
                    <a:lnTo>
                      <a:pt x="220" y="32"/>
                    </a:lnTo>
                    <a:lnTo>
                      <a:pt x="263" y="17"/>
                    </a:lnTo>
                    <a:lnTo>
                      <a:pt x="303" y="10"/>
                    </a:lnTo>
                    <a:lnTo>
                      <a:pt x="340" y="5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27" name="Oval 30">
                <a:extLst>
                  <a:ext uri="{FF2B5EF4-FFF2-40B4-BE49-F238E27FC236}">
                    <a16:creationId xmlns:a16="http://schemas.microsoft.com/office/drawing/2014/main" id="{CDE83AAA-9859-EA58-F736-9AB9139276FF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2312" y="550"/>
                <a:ext cx="657" cy="680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sp>
          <p:nvSpPr>
            <p:cNvPr id="38" name="Rectangle 31">
              <a:extLst>
                <a:ext uri="{FF2B5EF4-FFF2-40B4-BE49-F238E27FC236}">
                  <a16:creationId xmlns:a16="http://schemas.microsoft.com/office/drawing/2014/main" id="{C5A9683C-79F0-1715-90A0-CA9354A4A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2813" y="1173163"/>
              <a:ext cx="387350" cy="5270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39" name="Rectangle 32">
              <a:extLst>
                <a:ext uri="{FF2B5EF4-FFF2-40B4-BE49-F238E27FC236}">
                  <a16:creationId xmlns:a16="http://schemas.microsoft.com/office/drawing/2014/main" id="{AAE52338-002F-EF27-C261-AD1AF1ADA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2303463"/>
              <a:ext cx="309562" cy="627062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0" name="Rectangle 33">
              <a:extLst>
                <a:ext uri="{FF2B5EF4-FFF2-40B4-BE49-F238E27FC236}">
                  <a16:creationId xmlns:a16="http://schemas.microsoft.com/office/drawing/2014/main" id="{B620CC25-6727-79C0-A085-D4AFA515C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2906713"/>
              <a:ext cx="309562" cy="7461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" name="Rectangle 34">
              <a:extLst>
                <a:ext uri="{FF2B5EF4-FFF2-40B4-BE49-F238E27FC236}">
                  <a16:creationId xmlns:a16="http://schemas.microsoft.com/office/drawing/2014/main" id="{B45D9FF3-63DE-BB9B-5A81-AC5D86C3CE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2228850"/>
              <a:ext cx="309562" cy="1508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2" name="Line 36">
              <a:extLst>
                <a:ext uri="{FF2B5EF4-FFF2-40B4-BE49-F238E27FC236}">
                  <a16:creationId xmlns:a16="http://schemas.microsoft.com/office/drawing/2014/main" id="{EFB2A222-A711-9075-1762-E2FE5F5394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9863" y="3560763"/>
              <a:ext cx="0" cy="3000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Line 37">
              <a:extLst>
                <a:ext uri="{FF2B5EF4-FFF2-40B4-BE49-F238E27FC236}">
                  <a16:creationId xmlns:a16="http://schemas.microsoft.com/office/drawing/2014/main" id="{5B928A21-1A19-0734-41CF-0E042E3FB95A}"/>
                </a:ext>
              </a:extLst>
            </p:cNvPr>
            <p:cNvSpPr>
              <a:spLocks noChangeShapeType="1"/>
            </p:cNvSpPr>
            <p:nvPr/>
          </p:nvSpPr>
          <p:spPr bwMode="auto">
            <a:xfrm rot="21360000">
              <a:off x="1439863" y="3560763"/>
              <a:ext cx="0" cy="3000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Rectangle 38" descr="Light horizontal">
              <a:extLst>
                <a:ext uri="{FF2B5EF4-FFF2-40B4-BE49-F238E27FC236}">
                  <a16:creationId xmlns:a16="http://schemas.microsoft.com/office/drawing/2014/main" id="{9AC3208C-6FAF-7F4A-4D94-3985481EF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4288" y="3635375"/>
              <a:ext cx="155575" cy="225425"/>
            </a:xfrm>
            <a:prstGeom prst="rect">
              <a:avLst/>
            </a:prstGeom>
            <a:blipFill dpi="0" rotWithShape="0">
              <a:blip r:embed="rId4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5" name="Rectangle 39">
              <a:extLst>
                <a:ext uri="{FF2B5EF4-FFF2-40B4-BE49-F238E27FC236}">
                  <a16:creationId xmlns:a16="http://schemas.microsoft.com/office/drawing/2014/main" id="{46AD787E-DF92-8C67-54FF-1663564AC4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2100" y="4865688"/>
              <a:ext cx="957263" cy="4762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6" name="Line 40">
              <a:extLst>
                <a:ext uri="{FF2B5EF4-FFF2-40B4-BE49-F238E27FC236}">
                  <a16:creationId xmlns:a16="http://schemas.microsoft.com/office/drawing/2014/main" id="{E9D86465-0EDE-30B2-7666-A734AA8A084A}"/>
                </a:ext>
              </a:extLst>
            </p:cNvPr>
            <p:cNvSpPr>
              <a:spLocks noChangeShapeType="1"/>
            </p:cNvSpPr>
            <p:nvPr/>
          </p:nvSpPr>
          <p:spPr bwMode="auto">
            <a:xfrm rot="20820000">
              <a:off x="6664325" y="1247775"/>
              <a:ext cx="53975" cy="2097088"/>
            </a:xfrm>
            <a:prstGeom prst="line">
              <a:avLst/>
            </a:prstGeom>
            <a:noFill/>
            <a:ln w="38100" cmpd="dbl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Rectangle 41">
              <a:extLst>
                <a:ext uri="{FF2B5EF4-FFF2-40B4-BE49-F238E27FC236}">
                  <a16:creationId xmlns:a16="http://schemas.microsoft.com/office/drawing/2014/main" id="{420ED1A3-73A2-2539-70C2-1C8460CC0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7163" y="1700213"/>
              <a:ext cx="311150" cy="3778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8" name="Text Box 42">
              <a:extLst>
                <a:ext uri="{FF2B5EF4-FFF2-40B4-BE49-F238E27FC236}">
                  <a16:creationId xmlns:a16="http://schemas.microsoft.com/office/drawing/2014/main" id="{BAD10459-91EA-A61E-3B11-5706ED0DB9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44713" y="2078038"/>
              <a:ext cx="2346325" cy="3016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EFF9D">
                      <a:alpha val="50195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/>
            </a:p>
          </p:txBody>
        </p:sp>
        <p:sp>
          <p:nvSpPr>
            <p:cNvPr id="49" name="Text Box 44">
              <a:extLst>
                <a:ext uri="{FF2B5EF4-FFF2-40B4-BE49-F238E27FC236}">
                  <a16:creationId xmlns:a16="http://schemas.microsoft.com/office/drawing/2014/main" id="{34277CA9-678D-76FA-40DE-2408588C13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16813" y="1700213"/>
              <a:ext cx="465137" cy="2270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/>
            </a:p>
          </p:txBody>
        </p:sp>
        <p:sp>
          <p:nvSpPr>
            <p:cNvPr id="50" name="Rectangle 45" descr="Light vertical">
              <a:extLst>
                <a:ext uri="{FF2B5EF4-FFF2-40B4-BE49-F238E27FC236}">
                  <a16:creationId xmlns:a16="http://schemas.microsoft.com/office/drawing/2014/main" id="{2A063B0B-3565-2B0A-BEC0-677DFC21AF0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507163" y="1323975"/>
              <a:ext cx="233362" cy="109538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E4E09ECA-AB12-904E-EC48-559C0AB89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300" y="1120775"/>
              <a:ext cx="963613" cy="1385888"/>
            </a:xfrm>
            <a:custGeom>
              <a:avLst/>
              <a:gdLst>
                <a:gd name="T0" fmla="*/ 2147483646 w 1789"/>
                <a:gd name="T1" fmla="*/ 2147483646 h 2651"/>
                <a:gd name="T2" fmla="*/ 2147483646 w 1789"/>
                <a:gd name="T3" fmla="*/ 2147483646 h 2651"/>
                <a:gd name="T4" fmla="*/ 2147483646 w 1789"/>
                <a:gd name="T5" fmla="*/ 2147483646 h 2651"/>
                <a:gd name="T6" fmla="*/ 2147483646 w 1789"/>
                <a:gd name="T7" fmla="*/ 2147483646 h 2651"/>
                <a:gd name="T8" fmla="*/ 2147483646 w 1789"/>
                <a:gd name="T9" fmla="*/ 2147483646 h 2651"/>
                <a:gd name="T10" fmla="*/ 2147483646 w 1789"/>
                <a:gd name="T11" fmla="*/ 2147483646 h 2651"/>
                <a:gd name="T12" fmla="*/ 2147483646 w 1789"/>
                <a:gd name="T13" fmla="*/ 2147483646 h 2651"/>
                <a:gd name="T14" fmla="*/ 2147483646 w 1789"/>
                <a:gd name="T15" fmla="*/ 2147483646 h 2651"/>
                <a:gd name="T16" fmla="*/ 2147483646 w 1789"/>
                <a:gd name="T17" fmla="*/ 2147483646 h 2651"/>
                <a:gd name="T18" fmla="*/ 2147483646 w 1789"/>
                <a:gd name="T19" fmla="*/ 2147483646 h 2651"/>
                <a:gd name="T20" fmla="*/ 2147483646 w 1789"/>
                <a:gd name="T21" fmla="*/ 2147483646 h 2651"/>
                <a:gd name="T22" fmla="*/ 2147483646 w 1789"/>
                <a:gd name="T23" fmla="*/ 2147483646 h 2651"/>
                <a:gd name="T24" fmla="*/ 2147483646 w 1789"/>
                <a:gd name="T25" fmla="*/ 2147483646 h 2651"/>
                <a:gd name="T26" fmla="*/ 2147483646 w 1789"/>
                <a:gd name="T27" fmla="*/ 2147483646 h 2651"/>
                <a:gd name="T28" fmla="*/ 2147483646 w 1789"/>
                <a:gd name="T29" fmla="*/ 2147483646 h 2651"/>
                <a:gd name="T30" fmla="*/ 2147483646 w 1789"/>
                <a:gd name="T31" fmla="*/ 2147483646 h 2651"/>
                <a:gd name="T32" fmla="*/ 2147483646 w 1789"/>
                <a:gd name="T33" fmla="*/ 2147483646 h 2651"/>
                <a:gd name="T34" fmla="*/ 2147483646 w 1789"/>
                <a:gd name="T35" fmla="*/ 2147483646 h 2651"/>
                <a:gd name="T36" fmla="*/ 2147483646 w 1789"/>
                <a:gd name="T37" fmla="*/ 2147483646 h 2651"/>
                <a:gd name="T38" fmla="*/ 2147483646 w 1789"/>
                <a:gd name="T39" fmla="*/ 2147483646 h 2651"/>
                <a:gd name="T40" fmla="*/ 2147483646 w 1789"/>
                <a:gd name="T41" fmla="*/ 2147483646 h 2651"/>
                <a:gd name="T42" fmla="*/ 2147483646 w 1789"/>
                <a:gd name="T43" fmla="*/ 2147483646 h 2651"/>
                <a:gd name="T44" fmla="*/ 2147483646 w 1789"/>
                <a:gd name="T45" fmla="*/ 2147483646 h 2651"/>
                <a:gd name="T46" fmla="*/ 2147483646 w 1789"/>
                <a:gd name="T47" fmla="*/ 2147483646 h 2651"/>
                <a:gd name="T48" fmla="*/ 2147483646 w 1789"/>
                <a:gd name="T49" fmla="*/ 2147483646 h 2651"/>
                <a:gd name="T50" fmla="*/ 2147483646 w 1789"/>
                <a:gd name="T51" fmla="*/ 2147483646 h 2651"/>
                <a:gd name="T52" fmla="*/ 2147483646 w 1789"/>
                <a:gd name="T53" fmla="*/ 2147483646 h 2651"/>
                <a:gd name="T54" fmla="*/ 2147483646 w 1789"/>
                <a:gd name="T55" fmla="*/ 2147483646 h 2651"/>
                <a:gd name="T56" fmla="*/ 2147483646 w 1789"/>
                <a:gd name="T57" fmla="*/ 2147483646 h 2651"/>
                <a:gd name="T58" fmla="*/ 2147483646 w 1789"/>
                <a:gd name="T59" fmla="*/ 2147483646 h 2651"/>
                <a:gd name="T60" fmla="*/ 2147483646 w 1789"/>
                <a:gd name="T61" fmla="*/ 2147483646 h 265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789" h="2651">
                  <a:moveTo>
                    <a:pt x="13" y="986"/>
                  </a:moveTo>
                  <a:cubicBezTo>
                    <a:pt x="191" y="950"/>
                    <a:pt x="401" y="946"/>
                    <a:pt x="557" y="842"/>
                  </a:cubicBezTo>
                  <a:cubicBezTo>
                    <a:pt x="568" y="826"/>
                    <a:pt x="587" y="813"/>
                    <a:pt x="589" y="794"/>
                  </a:cubicBezTo>
                  <a:cubicBezTo>
                    <a:pt x="599" y="676"/>
                    <a:pt x="545" y="551"/>
                    <a:pt x="509" y="442"/>
                  </a:cubicBezTo>
                  <a:cubicBezTo>
                    <a:pt x="451" y="267"/>
                    <a:pt x="544" y="532"/>
                    <a:pt x="461" y="346"/>
                  </a:cubicBezTo>
                  <a:cubicBezTo>
                    <a:pt x="447" y="315"/>
                    <a:pt x="429" y="250"/>
                    <a:pt x="429" y="250"/>
                  </a:cubicBezTo>
                  <a:cubicBezTo>
                    <a:pt x="434" y="223"/>
                    <a:pt x="496" y="312"/>
                    <a:pt x="509" y="288"/>
                  </a:cubicBezTo>
                  <a:cubicBezTo>
                    <a:pt x="522" y="265"/>
                    <a:pt x="550" y="230"/>
                    <a:pt x="573" y="224"/>
                  </a:cubicBezTo>
                  <a:cubicBezTo>
                    <a:pt x="675" y="199"/>
                    <a:pt x="775" y="217"/>
                    <a:pt x="877" y="192"/>
                  </a:cubicBezTo>
                  <a:cubicBezTo>
                    <a:pt x="1018" y="201"/>
                    <a:pt x="1119" y="0"/>
                    <a:pt x="1165" y="138"/>
                  </a:cubicBezTo>
                  <a:cubicBezTo>
                    <a:pt x="1176" y="240"/>
                    <a:pt x="1180" y="344"/>
                    <a:pt x="1213" y="442"/>
                  </a:cubicBezTo>
                  <a:cubicBezTo>
                    <a:pt x="1223" y="606"/>
                    <a:pt x="1257" y="647"/>
                    <a:pt x="1293" y="768"/>
                  </a:cubicBezTo>
                  <a:cubicBezTo>
                    <a:pt x="1340" y="924"/>
                    <a:pt x="1382" y="1069"/>
                    <a:pt x="1421" y="1226"/>
                  </a:cubicBezTo>
                  <a:cubicBezTo>
                    <a:pt x="1429" y="1326"/>
                    <a:pt x="1485" y="1440"/>
                    <a:pt x="1533" y="1520"/>
                  </a:cubicBezTo>
                  <a:cubicBezTo>
                    <a:pt x="1709" y="2384"/>
                    <a:pt x="1789" y="2416"/>
                    <a:pt x="1501" y="2448"/>
                  </a:cubicBezTo>
                  <a:cubicBezTo>
                    <a:pt x="1443" y="2506"/>
                    <a:pt x="1338" y="2467"/>
                    <a:pt x="1261" y="2490"/>
                  </a:cubicBezTo>
                  <a:cubicBezTo>
                    <a:pt x="1229" y="2500"/>
                    <a:pt x="1197" y="2511"/>
                    <a:pt x="1165" y="2522"/>
                  </a:cubicBezTo>
                  <a:cubicBezTo>
                    <a:pt x="1149" y="2527"/>
                    <a:pt x="1117" y="2538"/>
                    <a:pt x="1117" y="2538"/>
                  </a:cubicBezTo>
                  <a:cubicBezTo>
                    <a:pt x="877" y="2575"/>
                    <a:pt x="640" y="2639"/>
                    <a:pt x="397" y="2650"/>
                  </a:cubicBezTo>
                  <a:cubicBezTo>
                    <a:pt x="370" y="2651"/>
                    <a:pt x="391" y="2595"/>
                    <a:pt x="381" y="2570"/>
                  </a:cubicBezTo>
                  <a:cubicBezTo>
                    <a:pt x="374" y="2552"/>
                    <a:pt x="358" y="2539"/>
                    <a:pt x="349" y="2522"/>
                  </a:cubicBezTo>
                  <a:cubicBezTo>
                    <a:pt x="341" y="2507"/>
                    <a:pt x="338" y="2490"/>
                    <a:pt x="333" y="2474"/>
                  </a:cubicBezTo>
                  <a:cubicBezTo>
                    <a:pt x="345" y="2351"/>
                    <a:pt x="315" y="2288"/>
                    <a:pt x="429" y="2250"/>
                  </a:cubicBezTo>
                  <a:cubicBezTo>
                    <a:pt x="424" y="2287"/>
                    <a:pt x="434" y="2331"/>
                    <a:pt x="413" y="2362"/>
                  </a:cubicBezTo>
                  <a:cubicBezTo>
                    <a:pt x="404" y="2376"/>
                    <a:pt x="369" y="2362"/>
                    <a:pt x="365" y="2346"/>
                  </a:cubicBezTo>
                  <a:cubicBezTo>
                    <a:pt x="344" y="2264"/>
                    <a:pt x="326" y="2197"/>
                    <a:pt x="349" y="2128"/>
                  </a:cubicBezTo>
                  <a:cubicBezTo>
                    <a:pt x="322" y="1994"/>
                    <a:pt x="333" y="2096"/>
                    <a:pt x="365" y="1888"/>
                  </a:cubicBezTo>
                  <a:cubicBezTo>
                    <a:pt x="352" y="1790"/>
                    <a:pt x="160" y="1841"/>
                    <a:pt x="61" y="1808"/>
                  </a:cubicBezTo>
                  <a:cubicBezTo>
                    <a:pt x="0" y="1717"/>
                    <a:pt x="30" y="1596"/>
                    <a:pt x="13" y="1488"/>
                  </a:cubicBezTo>
                  <a:cubicBezTo>
                    <a:pt x="4" y="1426"/>
                    <a:pt x="103" y="1277"/>
                    <a:pt x="77" y="1216"/>
                  </a:cubicBezTo>
                  <a:cubicBezTo>
                    <a:pt x="47" y="1143"/>
                    <a:pt x="38" y="1061"/>
                    <a:pt x="13" y="986"/>
                  </a:cubicBez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alpha val="50195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Rectangle 47">
              <a:extLst>
                <a:ext uri="{FF2B5EF4-FFF2-40B4-BE49-F238E27FC236}">
                  <a16:creationId xmlns:a16="http://schemas.microsoft.com/office/drawing/2014/main" id="{E3A4F718-E09C-73FD-3AE3-A17EB908C1C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820000">
              <a:off x="6740525" y="1549400"/>
              <a:ext cx="542925" cy="452438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53" name="Line 48">
              <a:extLst>
                <a:ext uri="{FF2B5EF4-FFF2-40B4-BE49-F238E27FC236}">
                  <a16:creationId xmlns:a16="http://schemas.microsoft.com/office/drawing/2014/main" id="{285D9475-E758-CA9D-BA09-6175646060B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20820000" flipH="1">
              <a:off x="5711825" y="2046288"/>
              <a:ext cx="60325" cy="36036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Line 49">
              <a:extLst>
                <a:ext uri="{FF2B5EF4-FFF2-40B4-BE49-F238E27FC236}">
                  <a16:creationId xmlns:a16="http://schemas.microsoft.com/office/drawing/2014/main" id="{61675E4B-903A-29A7-82D0-0B9E96F32B4D}"/>
                </a:ext>
              </a:extLst>
            </p:cNvPr>
            <p:cNvSpPr>
              <a:spLocks noChangeShapeType="1"/>
            </p:cNvSpPr>
            <p:nvPr/>
          </p:nvSpPr>
          <p:spPr bwMode="auto">
            <a:xfrm rot="20820000">
              <a:off x="7645400" y="1069975"/>
              <a:ext cx="68263" cy="4449763"/>
            </a:xfrm>
            <a:prstGeom prst="line">
              <a:avLst/>
            </a:prstGeom>
            <a:noFill/>
            <a:ln w="38100" cmpd="dbl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Line 50">
              <a:extLst>
                <a:ext uri="{FF2B5EF4-FFF2-40B4-BE49-F238E27FC236}">
                  <a16:creationId xmlns:a16="http://schemas.microsoft.com/office/drawing/2014/main" id="{C8D53A0F-A0CC-7B6B-C91F-2A3C3E540D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03975" y="1147763"/>
              <a:ext cx="698500" cy="150812"/>
            </a:xfrm>
            <a:prstGeom prst="line">
              <a:avLst/>
            </a:prstGeom>
            <a:noFill/>
            <a:ln w="38100" cmpd="dbl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Text Box 51">
              <a:extLst>
                <a:ext uri="{FF2B5EF4-FFF2-40B4-BE49-F238E27FC236}">
                  <a16:creationId xmlns:a16="http://schemas.microsoft.com/office/drawing/2014/main" id="{5F16AED9-F989-C01D-3D97-170114BE52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0600" y="2078038"/>
              <a:ext cx="1862138" cy="3016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EFF9D">
                      <a:alpha val="50195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/>
            </a:p>
          </p:txBody>
        </p:sp>
        <p:sp>
          <p:nvSpPr>
            <p:cNvPr id="57" name="Text Box 52">
              <a:extLst>
                <a:ext uri="{FF2B5EF4-FFF2-40B4-BE49-F238E27FC236}">
                  <a16:creationId xmlns:a16="http://schemas.microsoft.com/office/drawing/2014/main" id="{BA007BA9-AA95-12FD-0329-74C81D2722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0600" y="1700213"/>
              <a:ext cx="1706563" cy="3016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EFF9D">
                      <a:alpha val="50195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/>
            </a:p>
          </p:txBody>
        </p:sp>
        <p:sp>
          <p:nvSpPr>
            <p:cNvPr id="58" name="Rectangle 53">
              <a:extLst>
                <a:ext uri="{FF2B5EF4-FFF2-40B4-BE49-F238E27FC236}">
                  <a16:creationId xmlns:a16="http://schemas.microsoft.com/office/drawing/2014/main" id="{7E6563BD-2A9A-E49A-56AE-F7514E93E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2613" y="3733800"/>
              <a:ext cx="1008062" cy="15827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9FFFF">
                      <a:alpha val="5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99FF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59" name="Rectangle 54">
              <a:extLst>
                <a:ext uri="{FF2B5EF4-FFF2-40B4-BE49-F238E27FC236}">
                  <a16:creationId xmlns:a16="http://schemas.microsoft.com/office/drawing/2014/main" id="{8D59CB16-4699-21E5-6975-A55259E6602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52613" y="3635375"/>
              <a:ext cx="360362" cy="4937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60" name="Rectangle 55" descr="Light vertical">
              <a:extLst>
                <a:ext uri="{FF2B5EF4-FFF2-40B4-BE49-F238E27FC236}">
                  <a16:creationId xmlns:a16="http://schemas.microsoft.com/office/drawing/2014/main" id="{85C4A1A7-DDD3-E747-2A2B-4DCA4E4CDDD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905000" y="3711575"/>
              <a:ext cx="234950" cy="106363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61" name="Rectangle 56">
              <a:extLst>
                <a:ext uri="{FF2B5EF4-FFF2-40B4-BE49-F238E27FC236}">
                  <a16:creationId xmlns:a16="http://schemas.microsoft.com/office/drawing/2014/main" id="{577735D2-446B-54D6-87BE-62F10AE13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2613" y="3635375"/>
              <a:ext cx="361950" cy="3016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62" name="Rectangle 57">
              <a:extLst>
                <a:ext uri="{FF2B5EF4-FFF2-40B4-BE49-F238E27FC236}">
                  <a16:creationId xmlns:a16="http://schemas.microsoft.com/office/drawing/2014/main" id="{773D50A1-C593-8ECC-C962-6762CE1D6A9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447925" y="3913188"/>
              <a:ext cx="387350" cy="21431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63" name="Group 58">
              <a:extLst>
                <a:ext uri="{FF2B5EF4-FFF2-40B4-BE49-F238E27FC236}">
                  <a16:creationId xmlns:a16="http://schemas.microsoft.com/office/drawing/2014/main" id="{D1C5F612-B64D-3D4F-7DEE-870DF3138C3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2605088" y="3913188"/>
              <a:ext cx="82550" cy="227012"/>
              <a:chOff x="8245" y="4414"/>
              <a:chExt cx="361" cy="806"/>
            </a:xfrm>
          </p:grpSpPr>
          <p:sp>
            <p:nvSpPr>
              <p:cNvPr id="4224" name="Freeform 59">
                <a:extLst>
                  <a:ext uri="{FF2B5EF4-FFF2-40B4-BE49-F238E27FC236}">
                    <a16:creationId xmlns:a16="http://schemas.microsoft.com/office/drawing/2014/main" id="{CBF381FC-434C-CD0D-FA7E-32107DE0E01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45" y="4567"/>
                <a:ext cx="361" cy="653"/>
              </a:xfrm>
              <a:custGeom>
                <a:avLst/>
                <a:gdLst>
                  <a:gd name="T0" fmla="*/ 0 w 1083"/>
                  <a:gd name="T1" fmla="*/ 0 h 1959"/>
                  <a:gd name="T2" fmla="*/ 0 w 1083"/>
                  <a:gd name="T3" fmla="*/ 0 h 1959"/>
                  <a:gd name="T4" fmla="*/ 0 w 1083"/>
                  <a:gd name="T5" fmla="*/ 0 h 1959"/>
                  <a:gd name="T6" fmla="*/ 0 w 1083"/>
                  <a:gd name="T7" fmla="*/ 0 h 1959"/>
                  <a:gd name="T8" fmla="*/ 0 w 1083"/>
                  <a:gd name="T9" fmla="*/ 0 h 1959"/>
                  <a:gd name="T10" fmla="*/ 0 w 1083"/>
                  <a:gd name="T11" fmla="*/ 0 h 1959"/>
                  <a:gd name="T12" fmla="*/ 0 w 1083"/>
                  <a:gd name="T13" fmla="*/ 0 h 1959"/>
                  <a:gd name="T14" fmla="*/ 0 w 1083"/>
                  <a:gd name="T15" fmla="*/ 0 h 1959"/>
                  <a:gd name="T16" fmla="*/ 0 w 1083"/>
                  <a:gd name="T17" fmla="*/ 0 h 1959"/>
                  <a:gd name="T18" fmla="*/ 0 w 1083"/>
                  <a:gd name="T19" fmla="*/ 0 h 1959"/>
                  <a:gd name="T20" fmla="*/ 0 w 1083"/>
                  <a:gd name="T21" fmla="*/ 0 h 1959"/>
                  <a:gd name="T22" fmla="*/ 0 w 1083"/>
                  <a:gd name="T23" fmla="*/ 0 h 1959"/>
                  <a:gd name="T24" fmla="*/ 0 w 1083"/>
                  <a:gd name="T25" fmla="*/ 0 h 1959"/>
                  <a:gd name="T26" fmla="*/ 0 w 1083"/>
                  <a:gd name="T27" fmla="*/ 0 h 1959"/>
                  <a:gd name="T28" fmla="*/ 0 w 1083"/>
                  <a:gd name="T29" fmla="*/ 1 h 1959"/>
                  <a:gd name="T30" fmla="*/ 0 w 1083"/>
                  <a:gd name="T31" fmla="*/ 1 h 1959"/>
                  <a:gd name="T32" fmla="*/ 0 w 1083"/>
                  <a:gd name="T33" fmla="*/ 1 h 1959"/>
                  <a:gd name="T34" fmla="*/ 0 w 1083"/>
                  <a:gd name="T35" fmla="*/ 1 h 1959"/>
                  <a:gd name="T36" fmla="*/ 0 w 1083"/>
                  <a:gd name="T37" fmla="*/ 1 h 1959"/>
                  <a:gd name="T38" fmla="*/ 0 w 1083"/>
                  <a:gd name="T39" fmla="*/ 1 h 1959"/>
                  <a:gd name="T40" fmla="*/ 0 w 1083"/>
                  <a:gd name="T41" fmla="*/ 1 h 1959"/>
                  <a:gd name="T42" fmla="*/ 0 w 1083"/>
                  <a:gd name="T43" fmla="*/ 1 h 1959"/>
                  <a:gd name="T44" fmla="*/ 0 w 1083"/>
                  <a:gd name="T45" fmla="*/ 1 h 1959"/>
                  <a:gd name="T46" fmla="*/ 0 w 1083"/>
                  <a:gd name="T47" fmla="*/ 1 h 1959"/>
                  <a:gd name="T48" fmla="*/ 0 w 1083"/>
                  <a:gd name="T49" fmla="*/ 1 h 1959"/>
                  <a:gd name="T50" fmla="*/ 0 w 1083"/>
                  <a:gd name="T51" fmla="*/ 1 h 1959"/>
                  <a:gd name="T52" fmla="*/ 0 w 1083"/>
                  <a:gd name="T53" fmla="*/ 1 h 1959"/>
                  <a:gd name="T54" fmla="*/ 0 w 1083"/>
                  <a:gd name="T55" fmla="*/ 1 h 1959"/>
                  <a:gd name="T56" fmla="*/ 0 w 1083"/>
                  <a:gd name="T57" fmla="*/ 1 h 1959"/>
                  <a:gd name="T58" fmla="*/ 0 w 1083"/>
                  <a:gd name="T59" fmla="*/ 1 h 1959"/>
                  <a:gd name="T60" fmla="*/ 0 w 1083"/>
                  <a:gd name="T61" fmla="*/ 1 h 1959"/>
                  <a:gd name="T62" fmla="*/ 0 w 1083"/>
                  <a:gd name="T63" fmla="*/ 1 h 1959"/>
                  <a:gd name="T64" fmla="*/ 0 w 1083"/>
                  <a:gd name="T65" fmla="*/ 1 h 1959"/>
                  <a:gd name="T66" fmla="*/ 0 w 1083"/>
                  <a:gd name="T67" fmla="*/ 1 h 1959"/>
                  <a:gd name="T68" fmla="*/ 0 w 1083"/>
                  <a:gd name="T69" fmla="*/ 0 h 1959"/>
                  <a:gd name="T70" fmla="*/ 0 w 1083"/>
                  <a:gd name="T71" fmla="*/ 0 h 1959"/>
                  <a:gd name="T72" fmla="*/ 0 w 1083"/>
                  <a:gd name="T73" fmla="*/ 0 h 1959"/>
                  <a:gd name="T74" fmla="*/ 0 w 1083"/>
                  <a:gd name="T75" fmla="*/ 0 h 1959"/>
                  <a:gd name="T76" fmla="*/ 0 w 1083"/>
                  <a:gd name="T77" fmla="*/ 0 h 1959"/>
                  <a:gd name="T78" fmla="*/ 0 w 1083"/>
                  <a:gd name="T79" fmla="*/ 0 h 1959"/>
                  <a:gd name="T80" fmla="*/ 0 w 1083"/>
                  <a:gd name="T81" fmla="*/ 0 h 1959"/>
                  <a:gd name="T82" fmla="*/ 0 w 1083"/>
                  <a:gd name="T83" fmla="*/ 0 h 1959"/>
                  <a:gd name="T84" fmla="*/ 0 w 1083"/>
                  <a:gd name="T85" fmla="*/ 0 h 1959"/>
                  <a:gd name="T86" fmla="*/ 0 w 1083"/>
                  <a:gd name="T87" fmla="*/ 0 h 1959"/>
                  <a:gd name="T88" fmla="*/ 0 w 1083"/>
                  <a:gd name="T89" fmla="*/ 0 h 1959"/>
                  <a:gd name="T90" fmla="*/ 0 w 1083"/>
                  <a:gd name="T91" fmla="*/ 0 h 1959"/>
                  <a:gd name="T92" fmla="*/ 0 w 1083"/>
                  <a:gd name="T93" fmla="*/ 0 h 1959"/>
                  <a:gd name="T94" fmla="*/ 0 w 1083"/>
                  <a:gd name="T95" fmla="*/ 0 h 195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083" h="1959">
                    <a:moveTo>
                      <a:pt x="295" y="0"/>
                    </a:moveTo>
                    <a:lnTo>
                      <a:pt x="794" y="0"/>
                    </a:lnTo>
                    <a:lnTo>
                      <a:pt x="805" y="3"/>
                    </a:lnTo>
                    <a:lnTo>
                      <a:pt x="816" y="4"/>
                    </a:lnTo>
                    <a:lnTo>
                      <a:pt x="828" y="8"/>
                    </a:lnTo>
                    <a:lnTo>
                      <a:pt x="840" y="13"/>
                    </a:lnTo>
                    <a:lnTo>
                      <a:pt x="853" y="21"/>
                    </a:lnTo>
                    <a:lnTo>
                      <a:pt x="862" y="28"/>
                    </a:lnTo>
                    <a:lnTo>
                      <a:pt x="874" y="35"/>
                    </a:lnTo>
                    <a:lnTo>
                      <a:pt x="883" y="47"/>
                    </a:lnTo>
                    <a:lnTo>
                      <a:pt x="891" y="55"/>
                    </a:lnTo>
                    <a:lnTo>
                      <a:pt x="900" y="65"/>
                    </a:lnTo>
                    <a:lnTo>
                      <a:pt x="905" y="75"/>
                    </a:lnTo>
                    <a:lnTo>
                      <a:pt x="911" y="86"/>
                    </a:lnTo>
                    <a:lnTo>
                      <a:pt x="917" y="99"/>
                    </a:lnTo>
                    <a:lnTo>
                      <a:pt x="921" y="106"/>
                    </a:lnTo>
                    <a:lnTo>
                      <a:pt x="924" y="120"/>
                    </a:lnTo>
                    <a:lnTo>
                      <a:pt x="930" y="140"/>
                    </a:lnTo>
                    <a:lnTo>
                      <a:pt x="931" y="154"/>
                    </a:lnTo>
                    <a:lnTo>
                      <a:pt x="934" y="173"/>
                    </a:lnTo>
                    <a:lnTo>
                      <a:pt x="1080" y="738"/>
                    </a:lnTo>
                    <a:lnTo>
                      <a:pt x="1083" y="751"/>
                    </a:lnTo>
                    <a:lnTo>
                      <a:pt x="1083" y="764"/>
                    </a:lnTo>
                    <a:lnTo>
                      <a:pt x="1081" y="778"/>
                    </a:lnTo>
                    <a:lnTo>
                      <a:pt x="1078" y="788"/>
                    </a:lnTo>
                    <a:lnTo>
                      <a:pt x="1074" y="799"/>
                    </a:lnTo>
                    <a:lnTo>
                      <a:pt x="1064" y="810"/>
                    </a:lnTo>
                    <a:lnTo>
                      <a:pt x="1056" y="822"/>
                    </a:lnTo>
                    <a:lnTo>
                      <a:pt x="1044" y="827"/>
                    </a:lnTo>
                    <a:lnTo>
                      <a:pt x="1034" y="833"/>
                    </a:lnTo>
                    <a:lnTo>
                      <a:pt x="1023" y="839"/>
                    </a:lnTo>
                    <a:lnTo>
                      <a:pt x="1012" y="839"/>
                    </a:lnTo>
                    <a:lnTo>
                      <a:pt x="1000" y="839"/>
                    </a:lnTo>
                    <a:lnTo>
                      <a:pt x="989" y="839"/>
                    </a:lnTo>
                    <a:lnTo>
                      <a:pt x="978" y="837"/>
                    </a:lnTo>
                    <a:lnTo>
                      <a:pt x="969" y="832"/>
                    </a:lnTo>
                    <a:lnTo>
                      <a:pt x="959" y="826"/>
                    </a:lnTo>
                    <a:lnTo>
                      <a:pt x="949" y="819"/>
                    </a:lnTo>
                    <a:lnTo>
                      <a:pt x="942" y="812"/>
                    </a:lnTo>
                    <a:lnTo>
                      <a:pt x="934" y="800"/>
                    </a:lnTo>
                    <a:lnTo>
                      <a:pt x="930" y="788"/>
                    </a:lnTo>
                    <a:lnTo>
                      <a:pt x="925" y="779"/>
                    </a:lnTo>
                    <a:lnTo>
                      <a:pt x="785" y="278"/>
                    </a:lnTo>
                    <a:lnTo>
                      <a:pt x="737" y="278"/>
                    </a:lnTo>
                    <a:lnTo>
                      <a:pt x="976" y="1211"/>
                    </a:lnTo>
                    <a:lnTo>
                      <a:pt x="784" y="1211"/>
                    </a:lnTo>
                    <a:lnTo>
                      <a:pt x="786" y="1870"/>
                    </a:lnTo>
                    <a:lnTo>
                      <a:pt x="784" y="1884"/>
                    </a:lnTo>
                    <a:lnTo>
                      <a:pt x="781" y="1894"/>
                    </a:lnTo>
                    <a:lnTo>
                      <a:pt x="774" y="1907"/>
                    </a:lnTo>
                    <a:lnTo>
                      <a:pt x="768" y="1918"/>
                    </a:lnTo>
                    <a:lnTo>
                      <a:pt x="760" y="1928"/>
                    </a:lnTo>
                    <a:lnTo>
                      <a:pt x="752" y="1937"/>
                    </a:lnTo>
                    <a:lnTo>
                      <a:pt x="741" y="1945"/>
                    </a:lnTo>
                    <a:lnTo>
                      <a:pt x="730" y="1949"/>
                    </a:lnTo>
                    <a:lnTo>
                      <a:pt x="718" y="1955"/>
                    </a:lnTo>
                    <a:lnTo>
                      <a:pt x="709" y="1958"/>
                    </a:lnTo>
                    <a:lnTo>
                      <a:pt x="697" y="1959"/>
                    </a:lnTo>
                    <a:lnTo>
                      <a:pt x="686" y="1959"/>
                    </a:lnTo>
                    <a:lnTo>
                      <a:pt x="673" y="1959"/>
                    </a:lnTo>
                    <a:lnTo>
                      <a:pt x="663" y="1957"/>
                    </a:lnTo>
                    <a:lnTo>
                      <a:pt x="650" y="1951"/>
                    </a:lnTo>
                    <a:lnTo>
                      <a:pt x="641" y="1947"/>
                    </a:lnTo>
                    <a:lnTo>
                      <a:pt x="631" y="1942"/>
                    </a:lnTo>
                    <a:lnTo>
                      <a:pt x="624" y="1932"/>
                    </a:lnTo>
                    <a:lnTo>
                      <a:pt x="615" y="1925"/>
                    </a:lnTo>
                    <a:lnTo>
                      <a:pt x="608" y="1918"/>
                    </a:lnTo>
                    <a:lnTo>
                      <a:pt x="602" y="1907"/>
                    </a:lnTo>
                    <a:lnTo>
                      <a:pt x="598" y="1898"/>
                    </a:lnTo>
                    <a:lnTo>
                      <a:pt x="595" y="1890"/>
                    </a:lnTo>
                    <a:lnTo>
                      <a:pt x="592" y="1877"/>
                    </a:lnTo>
                    <a:lnTo>
                      <a:pt x="590" y="1870"/>
                    </a:lnTo>
                    <a:lnTo>
                      <a:pt x="592" y="1217"/>
                    </a:lnTo>
                    <a:lnTo>
                      <a:pt x="495" y="1217"/>
                    </a:lnTo>
                    <a:lnTo>
                      <a:pt x="495" y="1870"/>
                    </a:lnTo>
                    <a:lnTo>
                      <a:pt x="493" y="1879"/>
                    </a:lnTo>
                    <a:lnTo>
                      <a:pt x="492" y="1890"/>
                    </a:lnTo>
                    <a:lnTo>
                      <a:pt x="488" y="1898"/>
                    </a:lnTo>
                    <a:lnTo>
                      <a:pt x="483" y="1908"/>
                    </a:lnTo>
                    <a:lnTo>
                      <a:pt x="476" y="1918"/>
                    </a:lnTo>
                    <a:lnTo>
                      <a:pt x="469" y="1930"/>
                    </a:lnTo>
                    <a:lnTo>
                      <a:pt x="462" y="1937"/>
                    </a:lnTo>
                    <a:lnTo>
                      <a:pt x="451" y="1944"/>
                    </a:lnTo>
                    <a:lnTo>
                      <a:pt x="441" y="1949"/>
                    </a:lnTo>
                    <a:lnTo>
                      <a:pt x="429" y="1955"/>
                    </a:lnTo>
                    <a:lnTo>
                      <a:pt x="418" y="1958"/>
                    </a:lnTo>
                    <a:lnTo>
                      <a:pt x="408" y="1959"/>
                    </a:lnTo>
                    <a:lnTo>
                      <a:pt x="397" y="1959"/>
                    </a:lnTo>
                    <a:lnTo>
                      <a:pt x="386" y="1959"/>
                    </a:lnTo>
                    <a:lnTo>
                      <a:pt x="374" y="1957"/>
                    </a:lnTo>
                    <a:lnTo>
                      <a:pt x="363" y="1952"/>
                    </a:lnTo>
                    <a:lnTo>
                      <a:pt x="352" y="1948"/>
                    </a:lnTo>
                    <a:lnTo>
                      <a:pt x="342" y="1942"/>
                    </a:lnTo>
                    <a:lnTo>
                      <a:pt x="335" y="1937"/>
                    </a:lnTo>
                    <a:lnTo>
                      <a:pt x="326" y="1930"/>
                    </a:lnTo>
                    <a:lnTo>
                      <a:pt x="322" y="1921"/>
                    </a:lnTo>
                    <a:lnTo>
                      <a:pt x="313" y="1913"/>
                    </a:lnTo>
                    <a:lnTo>
                      <a:pt x="309" y="1901"/>
                    </a:lnTo>
                    <a:lnTo>
                      <a:pt x="303" y="1890"/>
                    </a:lnTo>
                    <a:lnTo>
                      <a:pt x="303" y="1879"/>
                    </a:lnTo>
                    <a:lnTo>
                      <a:pt x="302" y="1870"/>
                    </a:lnTo>
                    <a:lnTo>
                      <a:pt x="302" y="1217"/>
                    </a:lnTo>
                    <a:lnTo>
                      <a:pt x="108" y="1217"/>
                    </a:lnTo>
                    <a:lnTo>
                      <a:pt x="350" y="276"/>
                    </a:lnTo>
                    <a:lnTo>
                      <a:pt x="302" y="276"/>
                    </a:lnTo>
                    <a:lnTo>
                      <a:pt x="160" y="786"/>
                    </a:lnTo>
                    <a:lnTo>
                      <a:pt x="153" y="802"/>
                    </a:lnTo>
                    <a:lnTo>
                      <a:pt x="148" y="815"/>
                    </a:lnTo>
                    <a:lnTo>
                      <a:pt x="140" y="826"/>
                    </a:lnTo>
                    <a:lnTo>
                      <a:pt x="133" y="837"/>
                    </a:lnTo>
                    <a:lnTo>
                      <a:pt x="122" y="843"/>
                    </a:lnTo>
                    <a:lnTo>
                      <a:pt x="115" y="847"/>
                    </a:lnTo>
                    <a:lnTo>
                      <a:pt x="101" y="851"/>
                    </a:lnTo>
                    <a:lnTo>
                      <a:pt x="88" y="854"/>
                    </a:lnTo>
                    <a:lnTo>
                      <a:pt x="72" y="853"/>
                    </a:lnTo>
                    <a:lnTo>
                      <a:pt x="63" y="851"/>
                    </a:lnTo>
                    <a:lnTo>
                      <a:pt x="53" y="851"/>
                    </a:lnTo>
                    <a:lnTo>
                      <a:pt x="41" y="844"/>
                    </a:lnTo>
                    <a:lnTo>
                      <a:pt x="31" y="839"/>
                    </a:lnTo>
                    <a:lnTo>
                      <a:pt x="21" y="830"/>
                    </a:lnTo>
                    <a:lnTo>
                      <a:pt x="14" y="823"/>
                    </a:lnTo>
                    <a:lnTo>
                      <a:pt x="9" y="812"/>
                    </a:lnTo>
                    <a:lnTo>
                      <a:pt x="4" y="802"/>
                    </a:lnTo>
                    <a:lnTo>
                      <a:pt x="2" y="793"/>
                    </a:lnTo>
                    <a:lnTo>
                      <a:pt x="0" y="782"/>
                    </a:lnTo>
                    <a:lnTo>
                      <a:pt x="0" y="769"/>
                    </a:lnTo>
                    <a:lnTo>
                      <a:pt x="0" y="762"/>
                    </a:lnTo>
                    <a:lnTo>
                      <a:pt x="3" y="754"/>
                    </a:lnTo>
                    <a:lnTo>
                      <a:pt x="153" y="164"/>
                    </a:lnTo>
                    <a:lnTo>
                      <a:pt x="155" y="149"/>
                    </a:lnTo>
                    <a:lnTo>
                      <a:pt x="159" y="136"/>
                    </a:lnTo>
                    <a:lnTo>
                      <a:pt x="160" y="127"/>
                    </a:lnTo>
                    <a:lnTo>
                      <a:pt x="163" y="116"/>
                    </a:lnTo>
                    <a:lnTo>
                      <a:pt x="167" y="103"/>
                    </a:lnTo>
                    <a:lnTo>
                      <a:pt x="170" y="92"/>
                    </a:lnTo>
                    <a:lnTo>
                      <a:pt x="179" y="78"/>
                    </a:lnTo>
                    <a:lnTo>
                      <a:pt x="186" y="67"/>
                    </a:lnTo>
                    <a:lnTo>
                      <a:pt x="193" y="57"/>
                    </a:lnTo>
                    <a:lnTo>
                      <a:pt x="203" y="47"/>
                    </a:lnTo>
                    <a:lnTo>
                      <a:pt x="213" y="35"/>
                    </a:lnTo>
                    <a:lnTo>
                      <a:pt x="223" y="30"/>
                    </a:lnTo>
                    <a:lnTo>
                      <a:pt x="233" y="21"/>
                    </a:lnTo>
                    <a:lnTo>
                      <a:pt x="247" y="13"/>
                    </a:lnTo>
                    <a:lnTo>
                      <a:pt x="259" y="8"/>
                    </a:lnTo>
                    <a:lnTo>
                      <a:pt x="275" y="3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25" name="Oval 60">
                <a:extLst>
                  <a:ext uri="{FF2B5EF4-FFF2-40B4-BE49-F238E27FC236}">
                    <a16:creationId xmlns:a16="http://schemas.microsoft.com/office/drawing/2014/main" id="{47052000-28A8-5993-AEB9-2D56BAFC55C3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361" y="4414"/>
                <a:ext cx="124" cy="12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sp>
          <p:nvSpPr>
            <p:cNvPr id="4096" name="Rectangle 63">
              <a:extLst>
                <a:ext uri="{FF2B5EF4-FFF2-40B4-BE49-F238E27FC236}">
                  <a16:creationId xmlns:a16="http://schemas.microsoft.com/office/drawing/2014/main" id="{87C5BDD3-052D-B341-088F-5BE56DA29E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0" y="2906713"/>
              <a:ext cx="465138" cy="37623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097" name="Rectangle 67">
              <a:extLst>
                <a:ext uri="{FF2B5EF4-FFF2-40B4-BE49-F238E27FC236}">
                  <a16:creationId xmlns:a16="http://schemas.microsoft.com/office/drawing/2014/main" id="{7F77E696-231B-7415-6B26-9E1AD7975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4563" y="3409950"/>
              <a:ext cx="233362" cy="2508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099" name="Rectangle 68">
              <a:extLst>
                <a:ext uri="{FF2B5EF4-FFF2-40B4-BE49-F238E27FC236}">
                  <a16:creationId xmlns:a16="http://schemas.microsoft.com/office/drawing/2014/main" id="{E2027DFD-C9B9-5F06-F2E4-C7E3FBDF3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4563" y="3333750"/>
              <a:ext cx="233362" cy="76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00" name="Rectangle 69">
              <a:extLst>
                <a:ext uri="{FF2B5EF4-FFF2-40B4-BE49-F238E27FC236}">
                  <a16:creationId xmlns:a16="http://schemas.microsoft.com/office/drawing/2014/main" id="{06406BC1-3015-B9A1-3AAC-10E1D5A49A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150" y="3644900"/>
              <a:ext cx="241300" cy="714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01" name="Freeform 70">
              <a:extLst>
                <a:ext uri="{FF2B5EF4-FFF2-40B4-BE49-F238E27FC236}">
                  <a16:creationId xmlns:a16="http://schemas.microsoft.com/office/drawing/2014/main" id="{AEE79330-E91C-62C2-4F5C-911014867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9963" y="2906713"/>
              <a:ext cx="2266950" cy="901700"/>
            </a:xfrm>
            <a:custGeom>
              <a:avLst/>
              <a:gdLst>
                <a:gd name="T0" fmla="*/ 2147483646 w 4208"/>
                <a:gd name="T1" fmla="*/ 2147483646 h 1724"/>
                <a:gd name="T2" fmla="*/ 2147483646 w 4208"/>
                <a:gd name="T3" fmla="*/ 2147483646 h 1724"/>
                <a:gd name="T4" fmla="*/ 2147483646 w 4208"/>
                <a:gd name="T5" fmla="*/ 2147483646 h 1724"/>
                <a:gd name="T6" fmla="*/ 0 w 4208"/>
                <a:gd name="T7" fmla="*/ 2147483646 h 1724"/>
                <a:gd name="T8" fmla="*/ 2147483646 w 4208"/>
                <a:gd name="T9" fmla="*/ 2147483646 h 1724"/>
                <a:gd name="T10" fmla="*/ 2147483646 w 4208"/>
                <a:gd name="T11" fmla="*/ 2147483646 h 1724"/>
                <a:gd name="T12" fmla="*/ 2147483646 w 4208"/>
                <a:gd name="T13" fmla="*/ 0 h 1724"/>
                <a:gd name="T14" fmla="*/ 2147483646 w 4208"/>
                <a:gd name="T15" fmla="*/ 0 h 1724"/>
                <a:gd name="T16" fmla="*/ 2147483646 w 4208"/>
                <a:gd name="T17" fmla="*/ 2147483646 h 1724"/>
                <a:gd name="T18" fmla="*/ 2147483646 w 4208"/>
                <a:gd name="T19" fmla="*/ 2147483646 h 1724"/>
                <a:gd name="T20" fmla="*/ 2147483646 w 4208"/>
                <a:gd name="T21" fmla="*/ 2147483646 h 1724"/>
                <a:gd name="T22" fmla="*/ 2147483646 w 4208"/>
                <a:gd name="T23" fmla="*/ 2147483646 h 1724"/>
                <a:gd name="T24" fmla="*/ 2147483646 w 4208"/>
                <a:gd name="T25" fmla="*/ 2147483646 h 1724"/>
                <a:gd name="T26" fmla="*/ 2147483646 w 4208"/>
                <a:gd name="T27" fmla="*/ 2147483646 h 1724"/>
                <a:gd name="T28" fmla="*/ 2147483646 w 4208"/>
                <a:gd name="T29" fmla="*/ 2147483646 h 17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208" h="1724">
                  <a:moveTo>
                    <a:pt x="400" y="960"/>
                  </a:moveTo>
                  <a:cubicBezTo>
                    <a:pt x="381" y="1724"/>
                    <a:pt x="600" y="1641"/>
                    <a:pt x="288" y="1600"/>
                  </a:cubicBezTo>
                  <a:cubicBezTo>
                    <a:pt x="197" y="1588"/>
                    <a:pt x="107" y="1579"/>
                    <a:pt x="16" y="1568"/>
                  </a:cubicBezTo>
                  <a:cubicBezTo>
                    <a:pt x="11" y="1536"/>
                    <a:pt x="0" y="1504"/>
                    <a:pt x="0" y="1472"/>
                  </a:cubicBezTo>
                  <a:cubicBezTo>
                    <a:pt x="0" y="1339"/>
                    <a:pt x="16" y="1072"/>
                    <a:pt x="16" y="1072"/>
                  </a:cubicBezTo>
                  <a:lnTo>
                    <a:pt x="320" y="720"/>
                  </a:lnTo>
                  <a:lnTo>
                    <a:pt x="320" y="0"/>
                  </a:lnTo>
                  <a:lnTo>
                    <a:pt x="4208" y="0"/>
                  </a:lnTo>
                  <a:lnTo>
                    <a:pt x="4208" y="864"/>
                  </a:lnTo>
                  <a:lnTo>
                    <a:pt x="4208" y="1008"/>
                  </a:lnTo>
                  <a:lnTo>
                    <a:pt x="4208" y="864"/>
                  </a:lnTo>
                  <a:lnTo>
                    <a:pt x="320" y="864"/>
                  </a:lnTo>
                  <a:lnTo>
                    <a:pt x="464" y="864"/>
                  </a:lnTo>
                  <a:lnTo>
                    <a:pt x="320" y="1152"/>
                  </a:lnTo>
                  <a:lnTo>
                    <a:pt x="464" y="1440"/>
                  </a:lnTo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9FFFF">
                      <a:alpha val="5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02" name="Text Box 71">
              <a:extLst>
                <a:ext uri="{FF2B5EF4-FFF2-40B4-BE49-F238E27FC236}">
                  <a16:creationId xmlns:a16="http://schemas.microsoft.com/office/drawing/2014/main" id="{A2177819-B650-1EF8-6505-203BC48565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51113" y="2981325"/>
              <a:ext cx="1862137" cy="3016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 b="1">
                <a:latin typeface="NewsGoth BT" pitchFamily="34" charset="0"/>
              </a:endParaRPr>
            </a:p>
          </p:txBody>
        </p:sp>
        <p:sp>
          <p:nvSpPr>
            <p:cNvPr id="4103" name="Rectangle 72">
              <a:extLst>
                <a:ext uri="{FF2B5EF4-FFF2-40B4-BE49-F238E27FC236}">
                  <a16:creationId xmlns:a16="http://schemas.microsoft.com/office/drawing/2014/main" id="{2E463DDF-463F-3745-4559-4BF65EDA2C3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447925" y="3660775"/>
              <a:ext cx="387350" cy="2524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4104" name="Group 73">
              <a:extLst>
                <a:ext uri="{FF2B5EF4-FFF2-40B4-BE49-F238E27FC236}">
                  <a16:creationId xmlns:a16="http://schemas.microsoft.com/office/drawing/2014/main" id="{8A131D01-42BE-FAA0-ED7B-78E9EB15C73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605088" y="3687763"/>
              <a:ext cx="93662" cy="225425"/>
              <a:chOff x="1882" y="550"/>
              <a:chExt cx="1592" cy="4268"/>
            </a:xfrm>
          </p:grpSpPr>
          <p:sp>
            <p:nvSpPr>
              <p:cNvPr id="4222" name="Freeform 74">
                <a:extLst>
                  <a:ext uri="{FF2B5EF4-FFF2-40B4-BE49-F238E27FC236}">
                    <a16:creationId xmlns:a16="http://schemas.microsoft.com/office/drawing/2014/main" id="{7AC8566C-D0ED-FD3D-FAA0-8F0F2390036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2" y="1363"/>
                <a:ext cx="1592" cy="3455"/>
              </a:xfrm>
              <a:custGeom>
                <a:avLst/>
                <a:gdLst>
                  <a:gd name="T0" fmla="*/ 1242 w 1592"/>
                  <a:gd name="T1" fmla="*/ 2 h 3455"/>
                  <a:gd name="T2" fmla="*/ 1307 w 1592"/>
                  <a:gd name="T3" fmla="*/ 12 h 3455"/>
                  <a:gd name="T4" fmla="*/ 1372 w 1592"/>
                  <a:gd name="T5" fmla="*/ 30 h 3455"/>
                  <a:gd name="T6" fmla="*/ 1427 w 1592"/>
                  <a:gd name="T7" fmla="*/ 57 h 3455"/>
                  <a:gd name="T8" fmla="*/ 1497 w 1592"/>
                  <a:gd name="T9" fmla="*/ 105 h 3455"/>
                  <a:gd name="T10" fmla="*/ 1552 w 1592"/>
                  <a:gd name="T11" fmla="*/ 165 h 3455"/>
                  <a:gd name="T12" fmla="*/ 1590 w 1592"/>
                  <a:gd name="T13" fmla="*/ 242 h 3455"/>
                  <a:gd name="T14" fmla="*/ 1590 w 1592"/>
                  <a:gd name="T15" fmla="*/ 1572 h 3455"/>
                  <a:gd name="T16" fmla="*/ 1575 w 1592"/>
                  <a:gd name="T17" fmla="*/ 1617 h 3455"/>
                  <a:gd name="T18" fmla="*/ 1542 w 1592"/>
                  <a:gd name="T19" fmla="*/ 1662 h 3455"/>
                  <a:gd name="T20" fmla="*/ 1487 w 1592"/>
                  <a:gd name="T21" fmla="*/ 1692 h 3455"/>
                  <a:gd name="T22" fmla="*/ 1427 w 1592"/>
                  <a:gd name="T23" fmla="*/ 1695 h 3455"/>
                  <a:gd name="T24" fmla="*/ 1375 w 1592"/>
                  <a:gd name="T25" fmla="*/ 1680 h 3455"/>
                  <a:gd name="T26" fmla="*/ 1337 w 1592"/>
                  <a:gd name="T27" fmla="*/ 1642 h 3455"/>
                  <a:gd name="T28" fmla="*/ 1320 w 1592"/>
                  <a:gd name="T29" fmla="*/ 1607 h 3455"/>
                  <a:gd name="T30" fmla="*/ 1307 w 1592"/>
                  <a:gd name="T31" fmla="*/ 1567 h 3455"/>
                  <a:gd name="T32" fmla="*/ 1217 w 1592"/>
                  <a:gd name="T33" fmla="*/ 3262 h 3455"/>
                  <a:gd name="T34" fmla="*/ 1200 w 1592"/>
                  <a:gd name="T35" fmla="*/ 3345 h 3455"/>
                  <a:gd name="T36" fmla="*/ 1152 w 1592"/>
                  <a:gd name="T37" fmla="*/ 3412 h 3455"/>
                  <a:gd name="T38" fmla="*/ 1090 w 1592"/>
                  <a:gd name="T39" fmla="*/ 3445 h 3455"/>
                  <a:gd name="T40" fmla="*/ 1035 w 1592"/>
                  <a:gd name="T41" fmla="*/ 3455 h 3455"/>
                  <a:gd name="T42" fmla="*/ 962 w 1592"/>
                  <a:gd name="T43" fmla="*/ 3445 h 3455"/>
                  <a:gd name="T44" fmla="*/ 905 w 1592"/>
                  <a:gd name="T45" fmla="*/ 3407 h 3455"/>
                  <a:gd name="T46" fmla="*/ 862 w 1592"/>
                  <a:gd name="T47" fmla="*/ 3355 h 3455"/>
                  <a:gd name="T48" fmla="*/ 842 w 1592"/>
                  <a:gd name="T49" fmla="*/ 3305 h 3455"/>
                  <a:gd name="T50" fmla="*/ 748 w 1592"/>
                  <a:gd name="T51" fmla="*/ 1655 h 3455"/>
                  <a:gd name="T52" fmla="*/ 738 w 1592"/>
                  <a:gd name="T53" fmla="*/ 3320 h 3455"/>
                  <a:gd name="T54" fmla="*/ 698 w 1592"/>
                  <a:gd name="T55" fmla="*/ 3395 h 3455"/>
                  <a:gd name="T56" fmla="*/ 630 w 1592"/>
                  <a:gd name="T57" fmla="*/ 3442 h 3455"/>
                  <a:gd name="T58" fmla="*/ 545 w 1592"/>
                  <a:gd name="T59" fmla="*/ 3455 h 3455"/>
                  <a:gd name="T60" fmla="*/ 483 w 1592"/>
                  <a:gd name="T61" fmla="*/ 3440 h 3455"/>
                  <a:gd name="T62" fmla="*/ 423 w 1592"/>
                  <a:gd name="T63" fmla="*/ 3397 h 3455"/>
                  <a:gd name="T64" fmla="*/ 385 w 1592"/>
                  <a:gd name="T65" fmla="*/ 3345 h 3455"/>
                  <a:gd name="T66" fmla="*/ 370 w 1592"/>
                  <a:gd name="T67" fmla="*/ 3277 h 3455"/>
                  <a:gd name="T68" fmla="*/ 280 w 1592"/>
                  <a:gd name="T69" fmla="*/ 1567 h 3455"/>
                  <a:gd name="T70" fmla="*/ 263 w 1592"/>
                  <a:gd name="T71" fmla="*/ 1620 h 3455"/>
                  <a:gd name="T72" fmla="*/ 240 w 1592"/>
                  <a:gd name="T73" fmla="*/ 1652 h 3455"/>
                  <a:gd name="T74" fmla="*/ 208 w 1592"/>
                  <a:gd name="T75" fmla="*/ 1682 h 3455"/>
                  <a:gd name="T76" fmla="*/ 170 w 1592"/>
                  <a:gd name="T77" fmla="*/ 1695 h 3455"/>
                  <a:gd name="T78" fmla="*/ 123 w 1592"/>
                  <a:gd name="T79" fmla="*/ 1695 h 3455"/>
                  <a:gd name="T80" fmla="*/ 83 w 1592"/>
                  <a:gd name="T81" fmla="*/ 1687 h 3455"/>
                  <a:gd name="T82" fmla="*/ 50 w 1592"/>
                  <a:gd name="T83" fmla="*/ 1667 h 3455"/>
                  <a:gd name="T84" fmla="*/ 23 w 1592"/>
                  <a:gd name="T85" fmla="*/ 1637 h 3455"/>
                  <a:gd name="T86" fmla="*/ 5 w 1592"/>
                  <a:gd name="T87" fmla="*/ 1600 h 3455"/>
                  <a:gd name="T88" fmla="*/ 0 w 1592"/>
                  <a:gd name="T89" fmla="*/ 282 h 3455"/>
                  <a:gd name="T90" fmla="*/ 33 w 1592"/>
                  <a:gd name="T91" fmla="*/ 172 h 3455"/>
                  <a:gd name="T92" fmla="*/ 93 w 1592"/>
                  <a:gd name="T93" fmla="*/ 105 h 3455"/>
                  <a:gd name="T94" fmla="*/ 195 w 1592"/>
                  <a:gd name="T95" fmla="*/ 42 h 3455"/>
                  <a:gd name="T96" fmla="*/ 303 w 1592"/>
                  <a:gd name="T97" fmla="*/ 10 h 345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592" h="3455">
                    <a:moveTo>
                      <a:pt x="380" y="0"/>
                    </a:moveTo>
                    <a:lnTo>
                      <a:pt x="1220" y="2"/>
                    </a:lnTo>
                    <a:lnTo>
                      <a:pt x="1242" y="2"/>
                    </a:lnTo>
                    <a:lnTo>
                      <a:pt x="1265" y="5"/>
                    </a:lnTo>
                    <a:lnTo>
                      <a:pt x="1287" y="7"/>
                    </a:lnTo>
                    <a:lnTo>
                      <a:pt x="1307" y="12"/>
                    </a:lnTo>
                    <a:lnTo>
                      <a:pt x="1327" y="17"/>
                    </a:lnTo>
                    <a:lnTo>
                      <a:pt x="1350" y="22"/>
                    </a:lnTo>
                    <a:lnTo>
                      <a:pt x="1372" y="30"/>
                    </a:lnTo>
                    <a:lnTo>
                      <a:pt x="1392" y="37"/>
                    </a:lnTo>
                    <a:lnTo>
                      <a:pt x="1410" y="47"/>
                    </a:lnTo>
                    <a:lnTo>
                      <a:pt x="1427" y="57"/>
                    </a:lnTo>
                    <a:lnTo>
                      <a:pt x="1452" y="72"/>
                    </a:lnTo>
                    <a:lnTo>
                      <a:pt x="1472" y="85"/>
                    </a:lnTo>
                    <a:lnTo>
                      <a:pt x="1497" y="105"/>
                    </a:lnTo>
                    <a:lnTo>
                      <a:pt x="1520" y="125"/>
                    </a:lnTo>
                    <a:lnTo>
                      <a:pt x="1537" y="145"/>
                    </a:lnTo>
                    <a:lnTo>
                      <a:pt x="1552" y="165"/>
                    </a:lnTo>
                    <a:lnTo>
                      <a:pt x="1570" y="192"/>
                    </a:lnTo>
                    <a:lnTo>
                      <a:pt x="1577" y="212"/>
                    </a:lnTo>
                    <a:lnTo>
                      <a:pt x="1590" y="242"/>
                    </a:lnTo>
                    <a:lnTo>
                      <a:pt x="1592" y="267"/>
                    </a:lnTo>
                    <a:lnTo>
                      <a:pt x="1592" y="290"/>
                    </a:lnTo>
                    <a:lnTo>
                      <a:pt x="1590" y="1572"/>
                    </a:lnTo>
                    <a:lnTo>
                      <a:pt x="1587" y="1587"/>
                    </a:lnTo>
                    <a:lnTo>
                      <a:pt x="1580" y="1600"/>
                    </a:lnTo>
                    <a:lnTo>
                      <a:pt x="1575" y="1617"/>
                    </a:lnTo>
                    <a:lnTo>
                      <a:pt x="1570" y="1630"/>
                    </a:lnTo>
                    <a:lnTo>
                      <a:pt x="1555" y="1645"/>
                    </a:lnTo>
                    <a:lnTo>
                      <a:pt x="1542" y="1662"/>
                    </a:lnTo>
                    <a:lnTo>
                      <a:pt x="1525" y="1675"/>
                    </a:lnTo>
                    <a:lnTo>
                      <a:pt x="1502" y="1687"/>
                    </a:lnTo>
                    <a:lnTo>
                      <a:pt x="1487" y="1692"/>
                    </a:lnTo>
                    <a:lnTo>
                      <a:pt x="1467" y="1695"/>
                    </a:lnTo>
                    <a:lnTo>
                      <a:pt x="1447" y="1695"/>
                    </a:lnTo>
                    <a:lnTo>
                      <a:pt x="1427" y="1695"/>
                    </a:lnTo>
                    <a:lnTo>
                      <a:pt x="1407" y="1692"/>
                    </a:lnTo>
                    <a:lnTo>
                      <a:pt x="1390" y="1685"/>
                    </a:lnTo>
                    <a:lnTo>
                      <a:pt x="1375" y="1680"/>
                    </a:lnTo>
                    <a:lnTo>
                      <a:pt x="1362" y="1667"/>
                    </a:lnTo>
                    <a:lnTo>
                      <a:pt x="1350" y="1657"/>
                    </a:lnTo>
                    <a:lnTo>
                      <a:pt x="1337" y="1642"/>
                    </a:lnTo>
                    <a:lnTo>
                      <a:pt x="1330" y="1630"/>
                    </a:lnTo>
                    <a:lnTo>
                      <a:pt x="1320" y="1620"/>
                    </a:lnTo>
                    <a:lnTo>
                      <a:pt x="1320" y="1607"/>
                    </a:lnTo>
                    <a:lnTo>
                      <a:pt x="1315" y="1595"/>
                    </a:lnTo>
                    <a:lnTo>
                      <a:pt x="1310" y="1585"/>
                    </a:lnTo>
                    <a:lnTo>
                      <a:pt x="1307" y="1567"/>
                    </a:lnTo>
                    <a:lnTo>
                      <a:pt x="1310" y="585"/>
                    </a:lnTo>
                    <a:lnTo>
                      <a:pt x="1217" y="585"/>
                    </a:lnTo>
                    <a:lnTo>
                      <a:pt x="1217" y="3262"/>
                    </a:lnTo>
                    <a:lnTo>
                      <a:pt x="1217" y="3287"/>
                    </a:lnTo>
                    <a:lnTo>
                      <a:pt x="1210" y="3317"/>
                    </a:lnTo>
                    <a:lnTo>
                      <a:pt x="1200" y="3345"/>
                    </a:lnTo>
                    <a:lnTo>
                      <a:pt x="1187" y="3372"/>
                    </a:lnTo>
                    <a:lnTo>
                      <a:pt x="1167" y="3392"/>
                    </a:lnTo>
                    <a:lnTo>
                      <a:pt x="1152" y="3412"/>
                    </a:lnTo>
                    <a:lnTo>
                      <a:pt x="1135" y="3422"/>
                    </a:lnTo>
                    <a:lnTo>
                      <a:pt x="1112" y="3440"/>
                    </a:lnTo>
                    <a:lnTo>
                      <a:pt x="1090" y="3445"/>
                    </a:lnTo>
                    <a:lnTo>
                      <a:pt x="1070" y="3450"/>
                    </a:lnTo>
                    <a:lnTo>
                      <a:pt x="1052" y="3452"/>
                    </a:lnTo>
                    <a:lnTo>
                      <a:pt x="1035" y="3455"/>
                    </a:lnTo>
                    <a:lnTo>
                      <a:pt x="1015" y="3455"/>
                    </a:lnTo>
                    <a:lnTo>
                      <a:pt x="990" y="3452"/>
                    </a:lnTo>
                    <a:lnTo>
                      <a:pt x="962" y="3445"/>
                    </a:lnTo>
                    <a:lnTo>
                      <a:pt x="940" y="3432"/>
                    </a:lnTo>
                    <a:lnTo>
                      <a:pt x="920" y="3422"/>
                    </a:lnTo>
                    <a:lnTo>
                      <a:pt x="905" y="3407"/>
                    </a:lnTo>
                    <a:lnTo>
                      <a:pt x="890" y="3397"/>
                    </a:lnTo>
                    <a:lnTo>
                      <a:pt x="875" y="3375"/>
                    </a:lnTo>
                    <a:lnTo>
                      <a:pt x="862" y="3355"/>
                    </a:lnTo>
                    <a:lnTo>
                      <a:pt x="855" y="3342"/>
                    </a:lnTo>
                    <a:lnTo>
                      <a:pt x="850" y="3322"/>
                    </a:lnTo>
                    <a:lnTo>
                      <a:pt x="842" y="3305"/>
                    </a:lnTo>
                    <a:lnTo>
                      <a:pt x="840" y="3285"/>
                    </a:lnTo>
                    <a:lnTo>
                      <a:pt x="840" y="1655"/>
                    </a:lnTo>
                    <a:lnTo>
                      <a:pt x="748" y="1655"/>
                    </a:lnTo>
                    <a:lnTo>
                      <a:pt x="745" y="3275"/>
                    </a:lnTo>
                    <a:lnTo>
                      <a:pt x="743" y="3300"/>
                    </a:lnTo>
                    <a:lnTo>
                      <a:pt x="738" y="3320"/>
                    </a:lnTo>
                    <a:lnTo>
                      <a:pt x="725" y="3347"/>
                    </a:lnTo>
                    <a:lnTo>
                      <a:pt x="715" y="3370"/>
                    </a:lnTo>
                    <a:lnTo>
                      <a:pt x="698" y="3395"/>
                    </a:lnTo>
                    <a:lnTo>
                      <a:pt x="678" y="3415"/>
                    </a:lnTo>
                    <a:lnTo>
                      <a:pt x="655" y="3430"/>
                    </a:lnTo>
                    <a:lnTo>
                      <a:pt x="630" y="3442"/>
                    </a:lnTo>
                    <a:lnTo>
                      <a:pt x="600" y="3452"/>
                    </a:lnTo>
                    <a:lnTo>
                      <a:pt x="573" y="3455"/>
                    </a:lnTo>
                    <a:lnTo>
                      <a:pt x="545" y="3455"/>
                    </a:lnTo>
                    <a:lnTo>
                      <a:pt x="523" y="3452"/>
                    </a:lnTo>
                    <a:lnTo>
                      <a:pt x="503" y="3447"/>
                    </a:lnTo>
                    <a:lnTo>
                      <a:pt x="483" y="3440"/>
                    </a:lnTo>
                    <a:lnTo>
                      <a:pt x="463" y="3430"/>
                    </a:lnTo>
                    <a:lnTo>
                      <a:pt x="443" y="3417"/>
                    </a:lnTo>
                    <a:lnTo>
                      <a:pt x="423" y="3397"/>
                    </a:lnTo>
                    <a:lnTo>
                      <a:pt x="413" y="3382"/>
                    </a:lnTo>
                    <a:lnTo>
                      <a:pt x="398" y="3365"/>
                    </a:lnTo>
                    <a:lnTo>
                      <a:pt x="385" y="3345"/>
                    </a:lnTo>
                    <a:lnTo>
                      <a:pt x="383" y="3325"/>
                    </a:lnTo>
                    <a:lnTo>
                      <a:pt x="378" y="3310"/>
                    </a:lnTo>
                    <a:lnTo>
                      <a:pt x="370" y="3277"/>
                    </a:lnTo>
                    <a:lnTo>
                      <a:pt x="373" y="585"/>
                    </a:lnTo>
                    <a:lnTo>
                      <a:pt x="280" y="585"/>
                    </a:lnTo>
                    <a:lnTo>
                      <a:pt x="280" y="1567"/>
                    </a:lnTo>
                    <a:lnTo>
                      <a:pt x="275" y="1585"/>
                    </a:lnTo>
                    <a:lnTo>
                      <a:pt x="270" y="1605"/>
                    </a:lnTo>
                    <a:lnTo>
                      <a:pt x="263" y="1620"/>
                    </a:lnTo>
                    <a:lnTo>
                      <a:pt x="253" y="1637"/>
                    </a:lnTo>
                    <a:lnTo>
                      <a:pt x="250" y="1642"/>
                    </a:lnTo>
                    <a:lnTo>
                      <a:pt x="240" y="1652"/>
                    </a:lnTo>
                    <a:lnTo>
                      <a:pt x="230" y="1662"/>
                    </a:lnTo>
                    <a:lnTo>
                      <a:pt x="220" y="1670"/>
                    </a:lnTo>
                    <a:lnTo>
                      <a:pt x="208" y="1682"/>
                    </a:lnTo>
                    <a:lnTo>
                      <a:pt x="198" y="1685"/>
                    </a:lnTo>
                    <a:lnTo>
                      <a:pt x="183" y="1692"/>
                    </a:lnTo>
                    <a:lnTo>
                      <a:pt x="170" y="1695"/>
                    </a:lnTo>
                    <a:lnTo>
                      <a:pt x="160" y="1695"/>
                    </a:lnTo>
                    <a:lnTo>
                      <a:pt x="150" y="1695"/>
                    </a:lnTo>
                    <a:lnTo>
                      <a:pt x="123" y="1695"/>
                    </a:lnTo>
                    <a:lnTo>
                      <a:pt x="113" y="1695"/>
                    </a:lnTo>
                    <a:lnTo>
                      <a:pt x="100" y="1692"/>
                    </a:lnTo>
                    <a:lnTo>
                      <a:pt x="83" y="1687"/>
                    </a:lnTo>
                    <a:lnTo>
                      <a:pt x="75" y="1682"/>
                    </a:lnTo>
                    <a:lnTo>
                      <a:pt x="63" y="1675"/>
                    </a:lnTo>
                    <a:lnTo>
                      <a:pt x="50" y="1667"/>
                    </a:lnTo>
                    <a:lnTo>
                      <a:pt x="43" y="1660"/>
                    </a:lnTo>
                    <a:lnTo>
                      <a:pt x="33" y="1645"/>
                    </a:lnTo>
                    <a:lnTo>
                      <a:pt x="23" y="1637"/>
                    </a:lnTo>
                    <a:lnTo>
                      <a:pt x="15" y="1625"/>
                    </a:lnTo>
                    <a:lnTo>
                      <a:pt x="13" y="1617"/>
                    </a:lnTo>
                    <a:lnTo>
                      <a:pt x="5" y="1600"/>
                    </a:lnTo>
                    <a:lnTo>
                      <a:pt x="3" y="1587"/>
                    </a:lnTo>
                    <a:lnTo>
                      <a:pt x="0" y="1572"/>
                    </a:lnTo>
                    <a:lnTo>
                      <a:pt x="0" y="282"/>
                    </a:lnTo>
                    <a:lnTo>
                      <a:pt x="3" y="240"/>
                    </a:lnTo>
                    <a:lnTo>
                      <a:pt x="13" y="205"/>
                    </a:lnTo>
                    <a:lnTo>
                      <a:pt x="33" y="172"/>
                    </a:lnTo>
                    <a:lnTo>
                      <a:pt x="50" y="147"/>
                    </a:lnTo>
                    <a:lnTo>
                      <a:pt x="73" y="127"/>
                    </a:lnTo>
                    <a:lnTo>
                      <a:pt x="93" y="105"/>
                    </a:lnTo>
                    <a:lnTo>
                      <a:pt x="128" y="80"/>
                    </a:lnTo>
                    <a:lnTo>
                      <a:pt x="165" y="57"/>
                    </a:lnTo>
                    <a:lnTo>
                      <a:pt x="195" y="42"/>
                    </a:lnTo>
                    <a:lnTo>
                      <a:pt x="220" y="32"/>
                    </a:lnTo>
                    <a:lnTo>
                      <a:pt x="263" y="17"/>
                    </a:lnTo>
                    <a:lnTo>
                      <a:pt x="303" y="10"/>
                    </a:lnTo>
                    <a:lnTo>
                      <a:pt x="340" y="5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23" name="Oval 75">
                <a:extLst>
                  <a:ext uri="{FF2B5EF4-FFF2-40B4-BE49-F238E27FC236}">
                    <a16:creationId xmlns:a16="http://schemas.microsoft.com/office/drawing/2014/main" id="{93D9DD9B-6630-AEBC-F55F-EEDD9D711A34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2312" y="550"/>
                <a:ext cx="657" cy="680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sp>
          <p:nvSpPr>
            <p:cNvPr id="4105" name="Rectangle 76">
              <a:extLst>
                <a:ext uri="{FF2B5EF4-FFF2-40B4-BE49-F238E27FC236}">
                  <a16:creationId xmlns:a16="http://schemas.microsoft.com/office/drawing/2014/main" id="{50E327B0-EE4C-452E-0393-9565F3F55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738" y="3303588"/>
              <a:ext cx="2017712" cy="85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9FFFF">
                      <a:alpha val="5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06" name="Rectangle 77">
              <a:extLst>
                <a:ext uri="{FF2B5EF4-FFF2-40B4-BE49-F238E27FC236}">
                  <a16:creationId xmlns:a16="http://schemas.microsoft.com/office/drawing/2014/main" id="{4326420D-DAB8-DF49-F096-A241EF8977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0600" y="2906713"/>
              <a:ext cx="1628775" cy="452437"/>
            </a:xfrm>
            <a:prstGeom prst="rect">
              <a:avLst/>
            </a:prstGeom>
            <a:solidFill>
              <a:schemeClr val="bg1">
                <a:alpha val="50195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07" name="Text Box 78">
              <a:extLst>
                <a:ext uri="{FF2B5EF4-FFF2-40B4-BE49-F238E27FC236}">
                  <a16:creationId xmlns:a16="http://schemas.microsoft.com/office/drawing/2014/main" id="{6CB51BB9-A4F3-AAA5-CCF4-CD7E384C9E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78388" y="2981325"/>
              <a:ext cx="1473200" cy="3016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/>
            </a:p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 b="1">
                <a:latin typeface="NewsGoth BT" pitchFamily="34" charset="0"/>
              </a:endParaRPr>
            </a:p>
          </p:txBody>
        </p:sp>
        <p:sp>
          <p:nvSpPr>
            <p:cNvPr id="4108" name="Rectangle 79">
              <a:extLst>
                <a:ext uri="{FF2B5EF4-FFF2-40B4-BE49-F238E27FC236}">
                  <a16:creationId xmlns:a16="http://schemas.microsoft.com/office/drawing/2014/main" id="{22B816A1-76C3-EB3E-FBAF-5868A80D1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0600" y="3319463"/>
              <a:ext cx="1628775" cy="74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B066">
                      <a:alpha val="5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09" name="Freeform 80">
              <a:extLst>
                <a:ext uri="{FF2B5EF4-FFF2-40B4-BE49-F238E27FC236}">
                  <a16:creationId xmlns:a16="http://schemas.microsoft.com/office/drawing/2014/main" id="{80394732-BBDA-5111-0671-2AD0E3409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750" y="838200"/>
              <a:ext cx="1223963" cy="1690688"/>
            </a:xfrm>
            <a:custGeom>
              <a:avLst/>
              <a:gdLst>
                <a:gd name="T0" fmla="*/ 2147483646 w 3024"/>
                <a:gd name="T1" fmla="*/ 2147483646 h 3232"/>
                <a:gd name="T2" fmla="*/ 2147483646 w 3024"/>
                <a:gd name="T3" fmla="*/ 2147483646 h 3232"/>
                <a:gd name="T4" fmla="*/ 2147483646 w 3024"/>
                <a:gd name="T5" fmla="*/ 2147483646 h 3232"/>
                <a:gd name="T6" fmla="*/ 2147483646 w 3024"/>
                <a:gd name="T7" fmla="*/ 2147483646 h 3232"/>
                <a:gd name="T8" fmla="*/ 2147483646 w 3024"/>
                <a:gd name="T9" fmla="*/ 2147483646 h 3232"/>
                <a:gd name="T10" fmla="*/ 0 w 3024"/>
                <a:gd name="T11" fmla="*/ 2147483646 h 3232"/>
                <a:gd name="T12" fmla="*/ 2147483646 w 3024"/>
                <a:gd name="T13" fmla="*/ 2147483646 h 3232"/>
                <a:gd name="T14" fmla="*/ 2147483646 w 3024"/>
                <a:gd name="T15" fmla="*/ 2147483646 h 3232"/>
                <a:gd name="T16" fmla="*/ 2147483646 w 3024"/>
                <a:gd name="T17" fmla="*/ 0 h 3232"/>
                <a:gd name="T18" fmla="*/ 2147483646 w 3024"/>
                <a:gd name="T19" fmla="*/ 2147483646 h 3232"/>
                <a:gd name="T20" fmla="*/ 2147483646 w 3024"/>
                <a:gd name="T21" fmla="*/ 2147483646 h 3232"/>
                <a:gd name="T22" fmla="*/ 2147483646 w 3024"/>
                <a:gd name="T23" fmla="*/ 2147483646 h 3232"/>
                <a:gd name="T24" fmla="*/ 2147483646 w 3024"/>
                <a:gd name="T25" fmla="*/ 2147483646 h 3232"/>
                <a:gd name="T26" fmla="*/ 2147483646 w 3024"/>
                <a:gd name="T27" fmla="*/ 2147483646 h 32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024" h="3232">
                  <a:moveTo>
                    <a:pt x="1600" y="2944"/>
                  </a:moveTo>
                  <a:cubicBezTo>
                    <a:pt x="1605" y="2960"/>
                    <a:pt x="1608" y="2977"/>
                    <a:pt x="1616" y="2992"/>
                  </a:cubicBezTo>
                  <a:cubicBezTo>
                    <a:pt x="1625" y="3009"/>
                    <a:pt x="1646" y="3021"/>
                    <a:pt x="1648" y="3040"/>
                  </a:cubicBezTo>
                  <a:cubicBezTo>
                    <a:pt x="1651" y="3067"/>
                    <a:pt x="1632" y="3120"/>
                    <a:pt x="1632" y="3120"/>
                  </a:cubicBezTo>
                  <a:lnTo>
                    <a:pt x="288" y="3232"/>
                  </a:lnTo>
                  <a:lnTo>
                    <a:pt x="0" y="64"/>
                  </a:lnTo>
                  <a:lnTo>
                    <a:pt x="720" y="64"/>
                  </a:lnTo>
                  <a:lnTo>
                    <a:pt x="864" y="64"/>
                  </a:lnTo>
                  <a:lnTo>
                    <a:pt x="1392" y="0"/>
                  </a:lnTo>
                  <a:lnTo>
                    <a:pt x="1440" y="640"/>
                  </a:lnTo>
                  <a:lnTo>
                    <a:pt x="1584" y="1648"/>
                  </a:lnTo>
                  <a:lnTo>
                    <a:pt x="3024" y="1648"/>
                  </a:lnTo>
                  <a:lnTo>
                    <a:pt x="3024" y="2944"/>
                  </a:lnTo>
                  <a:lnTo>
                    <a:pt x="1600" y="2944"/>
                  </a:lnTo>
                  <a:close/>
                </a:path>
              </a:pathLst>
            </a:custGeom>
            <a:solidFill>
              <a:schemeClr val="bg1">
                <a:alpha val="50195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10" name="Line 81">
              <a:extLst>
                <a:ext uri="{FF2B5EF4-FFF2-40B4-BE49-F238E27FC236}">
                  <a16:creationId xmlns:a16="http://schemas.microsoft.com/office/drawing/2014/main" id="{6CEE886B-D0EF-55CC-5817-E314BAE017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97038" y="871538"/>
              <a:ext cx="77787" cy="1130300"/>
            </a:xfrm>
            <a:prstGeom prst="line">
              <a:avLst/>
            </a:prstGeom>
            <a:noFill/>
            <a:ln w="38100" cmpd="dbl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11" name="Rectangle 82">
              <a:extLst>
                <a:ext uri="{FF2B5EF4-FFF2-40B4-BE49-F238E27FC236}">
                  <a16:creationId xmlns:a16="http://schemas.microsoft.com/office/drawing/2014/main" id="{B29704DD-8BDF-56FE-4FF7-69B9774EB3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7375" y="5300663"/>
              <a:ext cx="2482850" cy="979487"/>
            </a:xfrm>
            <a:prstGeom prst="rect">
              <a:avLst/>
            </a:prstGeom>
            <a:solidFill>
              <a:schemeClr val="bg1">
                <a:alpha val="50195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2" name="Rectangle 83">
              <a:extLst>
                <a:ext uri="{FF2B5EF4-FFF2-40B4-BE49-F238E27FC236}">
                  <a16:creationId xmlns:a16="http://schemas.microsoft.com/office/drawing/2014/main" id="{E7271EDC-CB05-F780-3740-689CF61D975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257675" y="5092700"/>
              <a:ext cx="155575" cy="249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3" name="Rectangle 84">
              <a:extLst>
                <a:ext uri="{FF2B5EF4-FFF2-40B4-BE49-F238E27FC236}">
                  <a16:creationId xmlns:a16="http://schemas.microsoft.com/office/drawing/2014/main" id="{FCCC3802-D9ED-EA4C-AFF2-2476D8E0FA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800600" y="5092700"/>
              <a:ext cx="142875" cy="249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4" name="Rectangle 85">
              <a:extLst>
                <a:ext uri="{FF2B5EF4-FFF2-40B4-BE49-F238E27FC236}">
                  <a16:creationId xmlns:a16="http://schemas.microsoft.com/office/drawing/2014/main" id="{3A729FC4-00B9-720C-8FEB-90EA578B9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425" y="5519738"/>
              <a:ext cx="412750" cy="301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5" name="Rectangle 86" descr="Light vertical">
              <a:extLst>
                <a:ext uri="{FF2B5EF4-FFF2-40B4-BE49-F238E27FC236}">
                  <a16:creationId xmlns:a16="http://schemas.microsoft.com/office/drawing/2014/main" id="{2F5261FD-5B2C-F86A-09C8-38749FB72C2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827213" y="5594350"/>
              <a:ext cx="288925" cy="136525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6" name="Rectangle 88">
              <a:extLst>
                <a:ext uri="{FF2B5EF4-FFF2-40B4-BE49-F238E27FC236}">
                  <a16:creationId xmlns:a16="http://schemas.microsoft.com/office/drawing/2014/main" id="{34D264F7-D7A0-F25E-17A3-DC0007EA1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0600" y="5770563"/>
              <a:ext cx="296863" cy="527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7" name="Rectangle 89">
              <a:extLst>
                <a:ext uri="{FF2B5EF4-FFF2-40B4-BE49-F238E27FC236}">
                  <a16:creationId xmlns:a16="http://schemas.microsoft.com/office/drawing/2014/main" id="{4E624525-ABC4-7BB7-EE04-9B8FA2A83F7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800600" y="5468938"/>
              <a:ext cx="387350" cy="301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8" name="Rectangle 90" descr="Light vertical">
              <a:extLst>
                <a:ext uri="{FF2B5EF4-FFF2-40B4-BE49-F238E27FC236}">
                  <a16:creationId xmlns:a16="http://schemas.microsoft.com/office/drawing/2014/main" id="{C64BDBAB-ED88-6C20-66C8-2AA5BCA3F30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878388" y="5554663"/>
              <a:ext cx="227012" cy="106362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19" name="Rectangle 92">
              <a:extLst>
                <a:ext uri="{FF2B5EF4-FFF2-40B4-BE49-F238E27FC236}">
                  <a16:creationId xmlns:a16="http://schemas.microsoft.com/office/drawing/2014/main" id="{F3ABF129-533F-B074-BD49-F8054C501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7950" y="5770563"/>
              <a:ext cx="77788" cy="527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20" name="Line 93">
              <a:extLst>
                <a:ext uri="{FF2B5EF4-FFF2-40B4-BE49-F238E27FC236}">
                  <a16:creationId xmlns:a16="http://schemas.microsoft.com/office/drawing/2014/main" id="{C825AFBD-8639-F14A-0982-C4A6AC5D78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10163" y="6297613"/>
              <a:ext cx="23336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21" name="Rectangle 94">
              <a:extLst>
                <a:ext uri="{FF2B5EF4-FFF2-40B4-BE49-F238E27FC236}">
                  <a16:creationId xmlns:a16="http://schemas.microsoft.com/office/drawing/2014/main" id="{3CFFD8AD-0D8A-4EE2-8F70-08505FC3D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538" y="5318125"/>
              <a:ext cx="542925" cy="6032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22" name="Rectangle 95">
              <a:extLst>
                <a:ext uri="{FF2B5EF4-FFF2-40B4-BE49-F238E27FC236}">
                  <a16:creationId xmlns:a16="http://schemas.microsoft.com/office/drawing/2014/main" id="{6C762397-6BDF-D0C6-517B-210539A5B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2100" y="5318125"/>
              <a:ext cx="233363" cy="6032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23" name="Rectangle 96">
              <a:extLst>
                <a:ext uri="{FF2B5EF4-FFF2-40B4-BE49-F238E27FC236}">
                  <a16:creationId xmlns:a16="http://schemas.microsoft.com/office/drawing/2014/main" id="{B6773E74-9C67-5137-027E-E0666049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7675" y="5318125"/>
              <a:ext cx="155575" cy="301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24" name="Rectangle 97">
              <a:extLst>
                <a:ext uri="{FF2B5EF4-FFF2-40B4-BE49-F238E27FC236}">
                  <a16:creationId xmlns:a16="http://schemas.microsoft.com/office/drawing/2014/main" id="{0679EFA9-3921-B3C2-16BF-19BDDBDA2A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5463" y="5921375"/>
              <a:ext cx="465137" cy="376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4125" name="Group 98">
              <a:extLst>
                <a:ext uri="{FF2B5EF4-FFF2-40B4-BE49-F238E27FC236}">
                  <a16:creationId xmlns:a16="http://schemas.microsoft.com/office/drawing/2014/main" id="{9A76092D-126D-2FBA-8DA9-DA516B38C80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35463" y="5619750"/>
              <a:ext cx="465137" cy="401638"/>
              <a:chOff x="7488" y="9889"/>
              <a:chExt cx="864" cy="767"/>
            </a:xfrm>
          </p:grpSpPr>
          <p:sp>
            <p:nvSpPr>
              <p:cNvPr id="4219" name="Rectangle 99">
                <a:extLst>
                  <a:ext uri="{FF2B5EF4-FFF2-40B4-BE49-F238E27FC236}">
                    <a16:creationId xmlns:a16="http://schemas.microsoft.com/office/drawing/2014/main" id="{BDBDAB58-E5A6-8A80-EBEF-D3368272C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32" y="9936"/>
                <a:ext cx="576" cy="720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  <p:sp>
            <p:nvSpPr>
              <p:cNvPr id="4220" name="Rectangle 100">
                <a:extLst>
                  <a:ext uri="{FF2B5EF4-FFF2-40B4-BE49-F238E27FC236}">
                    <a16:creationId xmlns:a16="http://schemas.microsoft.com/office/drawing/2014/main" id="{2472A34F-BB95-548B-A42F-508F8079AF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88" y="9889"/>
                <a:ext cx="864" cy="57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  <p:sp>
            <p:nvSpPr>
              <p:cNvPr id="4221" name="Rectangle 101">
                <a:extLst>
                  <a:ext uri="{FF2B5EF4-FFF2-40B4-BE49-F238E27FC236}">
                    <a16:creationId xmlns:a16="http://schemas.microsoft.com/office/drawing/2014/main" id="{53BA1F32-B01B-8479-C318-89306F8051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32" y="10321"/>
                <a:ext cx="576" cy="144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sp>
          <p:nvSpPr>
            <p:cNvPr id="4126" name="Rectangle 102">
              <a:extLst>
                <a:ext uri="{FF2B5EF4-FFF2-40B4-BE49-F238E27FC236}">
                  <a16:creationId xmlns:a16="http://schemas.microsoft.com/office/drawing/2014/main" id="{2E12CC24-BD2F-4A1A-F9CE-01411A6B4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2100" y="5694363"/>
              <a:ext cx="233363" cy="22701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27" name="Rectangle 103" descr="Dark horizontal">
              <a:extLst>
                <a:ext uri="{FF2B5EF4-FFF2-40B4-BE49-F238E27FC236}">
                  <a16:creationId xmlns:a16="http://schemas.microsoft.com/office/drawing/2014/main" id="{6ACCAD83-40C3-6D35-A958-567311F83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6072188"/>
              <a:ext cx="153987" cy="225425"/>
            </a:xfrm>
            <a:prstGeom prst="rect">
              <a:avLst/>
            </a:prstGeom>
            <a:blipFill dpi="0" rotWithShape="0">
              <a:blip r:embed="rId5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28" name="Text Box 104">
              <a:extLst>
                <a:ext uri="{FF2B5EF4-FFF2-40B4-BE49-F238E27FC236}">
                  <a16:creationId xmlns:a16="http://schemas.microsoft.com/office/drawing/2014/main" id="{090D286C-6807-C55C-2D3B-76412EE22E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39963" y="5619750"/>
              <a:ext cx="1085850" cy="3016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 b="1">
                <a:latin typeface="NewsGoth BT" pitchFamily="34" charset="0"/>
              </a:endParaRPr>
            </a:p>
          </p:txBody>
        </p:sp>
        <p:sp>
          <p:nvSpPr>
            <p:cNvPr id="4129" name="Line 105">
              <a:extLst>
                <a:ext uri="{FF2B5EF4-FFF2-40B4-BE49-F238E27FC236}">
                  <a16:creationId xmlns:a16="http://schemas.microsoft.com/office/drawing/2014/main" id="{9E9BA95F-B00F-52FB-5687-F675E80FDF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2613" y="5318125"/>
              <a:ext cx="982662" cy="0"/>
            </a:xfrm>
            <a:prstGeom prst="line">
              <a:avLst/>
            </a:prstGeom>
            <a:noFill/>
            <a:ln w="5715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30" name="Rectangle 107" descr="Light horizontal">
              <a:extLst>
                <a:ext uri="{FF2B5EF4-FFF2-40B4-BE49-F238E27FC236}">
                  <a16:creationId xmlns:a16="http://schemas.microsoft.com/office/drawing/2014/main" id="{87C26FC7-7F1F-A748-0CBD-83AB406CBB4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541463" y="1323975"/>
              <a:ext cx="104775" cy="196850"/>
            </a:xfrm>
            <a:prstGeom prst="rect">
              <a:avLst/>
            </a:prstGeom>
            <a:blipFill dpi="0" rotWithShape="0">
              <a:blip r:embed="rId4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31" name="Text Box 110">
              <a:extLst>
                <a:ext uri="{FF2B5EF4-FFF2-40B4-BE49-F238E27FC236}">
                  <a16:creationId xmlns:a16="http://schemas.microsoft.com/office/drawing/2014/main" id="{E042D2B7-80AD-4A7E-96B1-D74E62D038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3725" y="4797425"/>
              <a:ext cx="930275" cy="504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 b="1">
                <a:latin typeface="Arial" panose="020B0604020202020204" pitchFamily="34" charset="0"/>
              </a:endParaRPr>
            </a:p>
          </p:txBody>
        </p:sp>
        <p:sp>
          <p:nvSpPr>
            <p:cNvPr id="4132" name="Rectangle 113">
              <a:extLst>
                <a:ext uri="{FF2B5EF4-FFF2-40B4-BE49-F238E27FC236}">
                  <a16:creationId xmlns:a16="http://schemas.microsoft.com/office/drawing/2014/main" id="{E249B8DA-178B-DC76-BC48-74B025DD16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5463" y="5694363"/>
              <a:ext cx="77787" cy="1508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33" name="Rectangle 114">
              <a:extLst>
                <a:ext uri="{FF2B5EF4-FFF2-40B4-BE49-F238E27FC236}">
                  <a16:creationId xmlns:a16="http://schemas.microsoft.com/office/drawing/2014/main" id="{A3358050-65C5-6988-BB7F-C455C1746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3250" y="5619750"/>
              <a:ext cx="387350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37" name="Text Box 120">
              <a:extLst>
                <a:ext uri="{FF2B5EF4-FFF2-40B4-BE49-F238E27FC236}">
                  <a16:creationId xmlns:a16="http://schemas.microsoft.com/office/drawing/2014/main" id="{10D82BE0-1844-2E61-A6A4-304CE46538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39963" y="2528888"/>
              <a:ext cx="698500" cy="2270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 b="1">
                <a:latin typeface="NewsGoth BT" pitchFamily="34" charset="0"/>
              </a:endParaRPr>
            </a:p>
          </p:txBody>
        </p:sp>
        <p:sp>
          <p:nvSpPr>
            <p:cNvPr id="4138" name="Text Box 122">
              <a:extLst>
                <a:ext uri="{FF2B5EF4-FFF2-40B4-BE49-F238E27FC236}">
                  <a16:creationId xmlns:a16="http://schemas.microsoft.com/office/drawing/2014/main" id="{73C83B98-FCC6-1E60-8717-1F6847C5AD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39963" y="2528888"/>
              <a:ext cx="698500" cy="2270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 b="1">
                <a:latin typeface="NewsGoth BT" pitchFamily="34" charset="0"/>
              </a:endParaRPr>
            </a:p>
          </p:txBody>
        </p:sp>
        <p:sp>
          <p:nvSpPr>
            <p:cNvPr id="4139" name="Text Box 124">
              <a:extLst>
                <a:ext uri="{FF2B5EF4-FFF2-40B4-BE49-F238E27FC236}">
                  <a16:creationId xmlns:a16="http://schemas.microsoft.com/office/drawing/2014/main" id="{AF2C974A-90B9-30E4-A2E7-1782B385D0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400" y="3132138"/>
              <a:ext cx="542925" cy="2270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000" b="1">
                <a:latin typeface="NewsGoth BT" pitchFamily="34" charset="0"/>
              </a:endParaRPr>
            </a:p>
          </p:txBody>
        </p:sp>
        <p:sp>
          <p:nvSpPr>
            <p:cNvPr id="4140" name="Line 127">
              <a:extLst>
                <a:ext uri="{FF2B5EF4-FFF2-40B4-BE49-F238E27FC236}">
                  <a16:creationId xmlns:a16="http://schemas.microsoft.com/office/drawing/2014/main" id="{78AF7E1F-9345-6BCF-92AE-65188711BF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740525" y="2379663"/>
              <a:ext cx="698500" cy="149225"/>
            </a:xfrm>
            <a:prstGeom prst="line">
              <a:avLst/>
            </a:prstGeom>
            <a:noFill/>
            <a:ln w="38100" cmpd="dbl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41" name="Rectangle 128">
              <a:extLst>
                <a:ext uri="{FF2B5EF4-FFF2-40B4-BE49-F238E27FC236}">
                  <a16:creationId xmlns:a16="http://schemas.microsoft.com/office/drawing/2014/main" id="{966F63D2-FA48-E6C8-1DE6-396C5128A9A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794098">
              <a:off x="6662738" y="3209925"/>
              <a:ext cx="1011237" cy="2344738"/>
            </a:xfrm>
            <a:prstGeom prst="rect">
              <a:avLst/>
            </a:prstGeom>
            <a:solidFill>
              <a:srgbClr val="FFFFFF"/>
            </a:solidFill>
            <a:ln w="38100" cmpd="dbl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4142" name="Group 129">
              <a:extLst>
                <a:ext uri="{FF2B5EF4-FFF2-40B4-BE49-F238E27FC236}">
                  <a16:creationId xmlns:a16="http://schemas.microsoft.com/office/drawing/2014/main" id="{33262BEE-BE6E-D985-98FD-B3DCB0BFF0A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72300" y="5334000"/>
              <a:ext cx="1241425" cy="981075"/>
              <a:chOff x="10080" y="9360"/>
              <a:chExt cx="1296" cy="1872"/>
            </a:xfrm>
          </p:grpSpPr>
          <p:grpSp>
            <p:nvGrpSpPr>
              <p:cNvPr id="4213" name="Group 130">
                <a:extLst>
                  <a:ext uri="{FF2B5EF4-FFF2-40B4-BE49-F238E27FC236}">
                    <a16:creationId xmlns:a16="http://schemas.microsoft.com/office/drawing/2014/main" id="{8DEEFD87-B468-AC44-E86C-0875DAE5ACA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080" y="9360"/>
                <a:ext cx="1296" cy="1872"/>
                <a:chOff x="10080" y="9360"/>
                <a:chExt cx="1296" cy="1872"/>
              </a:xfrm>
            </p:grpSpPr>
            <p:sp>
              <p:nvSpPr>
                <p:cNvPr id="4216" name="AutoShape 131">
                  <a:extLst>
                    <a:ext uri="{FF2B5EF4-FFF2-40B4-BE49-F238E27FC236}">
                      <a16:creationId xmlns:a16="http://schemas.microsoft.com/office/drawing/2014/main" id="{485017DE-C196-D4C5-6E2D-506918F2B4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80" y="9360"/>
                  <a:ext cx="1296" cy="1872"/>
                </a:xfrm>
                <a:prstGeom prst="flowChartAlternateProcess">
                  <a:avLst/>
                </a:prstGeom>
                <a:solidFill>
                  <a:srgbClr val="FFFFFF"/>
                </a:solidFill>
                <a:ln w="38100" cmpd="dbl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en-GB" altLang="en-US" sz="2400"/>
                </a:p>
              </p:txBody>
            </p:sp>
            <p:sp>
              <p:nvSpPr>
                <p:cNvPr id="4217" name="Rectangle 132">
                  <a:extLst>
                    <a:ext uri="{FF2B5EF4-FFF2-40B4-BE49-F238E27FC236}">
                      <a16:creationId xmlns:a16="http://schemas.microsoft.com/office/drawing/2014/main" id="{A2DC9800-9373-4D36-AA48-F5E4B8B90D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80" y="9360"/>
                  <a:ext cx="1296" cy="288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en-GB" altLang="en-US" sz="2400"/>
                </a:p>
              </p:txBody>
            </p:sp>
            <p:sp>
              <p:nvSpPr>
                <p:cNvPr id="4218" name="Rectangle 133">
                  <a:extLst>
                    <a:ext uri="{FF2B5EF4-FFF2-40B4-BE49-F238E27FC236}">
                      <a16:creationId xmlns:a16="http://schemas.microsoft.com/office/drawing/2014/main" id="{F5221DA0-1E21-0D01-3FA0-9B0455599C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80" y="9648"/>
                  <a:ext cx="1296" cy="144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en-GB" altLang="en-US" sz="2400"/>
                </a:p>
              </p:txBody>
            </p:sp>
          </p:grpSp>
          <p:sp>
            <p:nvSpPr>
              <p:cNvPr id="4214" name="Line 134">
                <a:extLst>
                  <a:ext uri="{FF2B5EF4-FFF2-40B4-BE49-F238E27FC236}">
                    <a16:creationId xmlns:a16="http://schemas.microsoft.com/office/drawing/2014/main" id="{28F6A07B-2B5B-2E2C-F9E6-3A37C77F5A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080" y="9360"/>
                <a:ext cx="0" cy="43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15" name="Line 135">
                <a:extLst>
                  <a:ext uri="{FF2B5EF4-FFF2-40B4-BE49-F238E27FC236}">
                    <a16:creationId xmlns:a16="http://schemas.microsoft.com/office/drawing/2014/main" id="{8DD7917E-8E4E-F92A-28A8-4194BE16B7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376" y="9360"/>
                <a:ext cx="0" cy="43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143" name="Rectangle 136">
              <a:extLst>
                <a:ext uri="{FF2B5EF4-FFF2-40B4-BE49-F238E27FC236}">
                  <a16:creationId xmlns:a16="http://schemas.microsoft.com/office/drawing/2014/main" id="{F236F0F5-97B3-D3CC-CCB6-348A1E7964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9375" y="2922588"/>
              <a:ext cx="1216025" cy="5286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44" name="Rectangle 137" descr="Light horizontal">
              <a:extLst>
                <a:ext uri="{FF2B5EF4-FFF2-40B4-BE49-F238E27FC236}">
                  <a16:creationId xmlns:a16="http://schemas.microsoft.com/office/drawing/2014/main" id="{1948C41C-8432-5962-2565-CCC1FACB989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748588" y="5862638"/>
              <a:ext cx="104775" cy="196850"/>
            </a:xfrm>
            <a:prstGeom prst="rect">
              <a:avLst/>
            </a:prstGeom>
            <a:blipFill dpi="0" rotWithShape="0">
              <a:blip r:embed="rId4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45" name="Rectangle 138">
              <a:extLst>
                <a:ext uri="{FF2B5EF4-FFF2-40B4-BE49-F238E27FC236}">
                  <a16:creationId xmlns:a16="http://schemas.microsoft.com/office/drawing/2014/main" id="{62F7B2AF-F4DD-F247-3376-9563087D6B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9125" y="5300663"/>
              <a:ext cx="1090613" cy="33496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4146" name="Group 139">
              <a:extLst>
                <a:ext uri="{FF2B5EF4-FFF2-40B4-BE49-F238E27FC236}">
                  <a16:creationId xmlns:a16="http://schemas.microsoft.com/office/drawing/2014/main" id="{917624E8-C70C-CED0-B1AD-0BB56ABED3A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516813" y="5635625"/>
              <a:ext cx="412750" cy="477838"/>
              <a:chOff x="13633" y="10177"/>
              <a:chExt cx="1152" cy="1296"/>
            </a:xfrm>
          </p:grpSpPr>
          <p:sp>
            <p:nvSpPr>
              <p:cNvPr id="4204" name="Line 140">
                <a:extLst>
                  <a:ext uri="{FF2B5EF4-FFF2-40B4-BE49-F238E27FC236}">
                    <a16:creationId xmlns:a16="http://schemas.microsoft.com/office/drawing/2014/main" id="{BC992DF6-982C-A48B-8CAA-8ED0A5E432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633" y="10177"/>
                <a:ext cx="432" cy="288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05" name="Line 141">
                <a:extLst>
                  <a:ext uri="{FF2B5EF4-FFF2-40B4-BE49-F238E27FC236}">
                    <a16:creationId xmlns:a16="http://schemas.microsoft.com/office/drawing/2014/main" id="{0190F8D1-E1FB-80F3-3EE0-17EE29754C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209" y="11329"/>
                <a:ext cx="144" cy="144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4206" name="Group 142">
                <a:extLst>
                  <a:ext uri="{FF2B5EF4-FFF2-40B4-BE49-F238E27FC236}">
                    <a16:creationId xmlns:a16="http://schemas.microsoft.com/office/drawing/2014/main" id="{92AF67CC-CE8C-0353-7A1E-E5C9FD9783E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3633" y="10177"/>
                <a:ext cx="1152" cy="1296"/>
                <a:chOff x="13633" y="10177"/>
                <a:chExt cx="1152" cy="1296"/>
              </a:xfrm>
            </p:grpSpPr>
            <p:sp>
              <p:nvSpPr>
                <p:cNvPr id="4207" name="Line 143">
                  <a:extLst>
                    <a:ext uri="{FF2B5EF4-FFF2-40B4-BE49-F238E27FC236}">
                      <a16:creationId xmlns:a16="http://schemas.microsoft.com/office/drawing/2014/main" id="{F4B6E22C-A7EE-1FA1-F63C-F3368FF1FE0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65" y="10177"/>
                  <a:ext cx="720" cy="576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08" name="Line 144">
                  <a:extLst>
                    <a:ext uri="{FF2B5EF4-FFF2-40B4-BE49-F238E27FC236}">
                      <a16:creationId xmlns:a16="http://schemas.microsoft.com/office/drawing/2014/main" id="{A65A4C7A-09B2-04C6-5049-613C8A4BB5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641" y="10753"/>
                  <a:ext cx="144" cy="144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09" name="Line 145">
                  <a:extLst>
                    <a:ext uri="{FF2B5EF4-FFF2-40B4-BE49-F238E27FC236}">
                      <a16:creationId xmlns:a16="http://schemas.microsoft.com/office/drawing/2014/main" id="{F7DD252D-5D4A-1BC3-A6E3-122652AC19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641" y="10897"/>
                  <a:ext cx="144" cy="144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10" name="Line 146">
                  <a:extLst>
                    <a:ext uri="{FF2B5EF4-FFF2-40B4-BE49-F238E27FC236}">
                      <a16:creationId xmlns:a16="http://schemas.microsoft.com/office/drawing/2014/main" id="{333857D8-2996-DEF9-BA1B-B2E2CD025A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353" y="11041"/>
                  <a:ext cx="432" cy="432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11" name="Line 147">
                  <a:extLst>
                    <a:ext uri="{FF2B5EF4-FFF2-40B4-BE49-F238E27FC236}">
                      <a16:creationId xmlns:a16="http://schemas.microsoft.com/office/drawing/2014/main" id="{C17895AF-43FC-5193-CFB4-68E39BBCE00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065" y="11329"/>
                  <a:ext cx="144" cy="144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4212" name="Line 148">
                  <a:extLst>
                    <a:ext uri="{FF2B5EF4-FFF2-40B4-BE49-F238E27FC236}">
                      <a16:creationId xmlns:a16="http://schemas.microsoft.com/office/drawing/2014/main" id="{B522CE89-68DE-9118-436C-84D212D61F9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3633" y="11041"/>
                  <a:ext cx="432" cy="432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</p:grpSp>
        <p:sp>
          <p:nvSpPr>
            <p:cNvPr id="4147" name="Rectangle 149">
              <a:extLst>
                <a:ext uri="{FF2B5EF4-FFF2-40B4-BE49-F238E27FC236}">
                  <a16:creationId xmlns:a16="http://schemas.microsoft.com/office/drawing/2014/main" id="{1C91558E-E4EC-DEBC-2B04-10640CBE81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5663" y="5786438"/>
              <a:ext cx="387350" cy="301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48" name="Line 150">
              <a:extLst>
                <a:ext uri="{FF2B5EF4-FFF2-40B4-BE49-F238E27FC236}">
                  <a16:creationId xmlns:a16="http://schemas.microsoft.com/office/drawing/2014/main" id="{ACDFC4FA-E394-9EDC-DCC7-86ECC4B861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18313" y="2771775"/>
              <a:ext cx="698500" cy="15081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4149" name="Group 152">
              <a:extLst>
                <a:ext uri="{FF2B5EF4-FFF2-40B4-BE49-F238E27FC236}">
                  <a16:creationId xmlns:a16="http://schemas.microsoft.com/office/drawing/2014/main" id="{81827EFC-305C-B1F4-5407-BACD892A346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86450" y="5334000"/>
              <a:ext cx="698500" cy="981075"/>
              <a:chOff x="10080" y="9360"/>
              <a:chExt cx="1296" cy="1872"/>
            </a:xfrm>
          </p:grpSpPr>
          <p:grpSp>
            <p:nvGrpSpPr>
              <p:cNvPr id="4198" name="Group 153">
                <a:extLst>
                  <a:ext uri="{FF2B5EF4-FFF2-40B4-BE49-F238E27FC236}">
                    <a16:creationId xmlns:a16="http://schemas.microsoft.com/office/drawing/2014/main" id="{C8BB1CD2-DD60-3C7B-D55B-A2577FBC18C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080" y="9360"/>
                <a:ext cx="1296" cy="1872"/>
                <a:chOff x="10080" y="9360"/>
                <a:chExt cx="1296" cy="1872"/>
              </a:xfrm>
            </p:grpSpPr>
            <p:sp>
              <p:nvSpPr>
                <p:cNvPr id="4201" name="AutoShape 154">
                  <a:extLst>
                    <a:ext uri="{FF2B5EF4-FFF2-40B4-BE49-F238E27FC236}">
                      <a16:creationId xmlns:a16="http://schemas.microsoft.com/office/drawing/2014/main" id="{243F051A-156A-79BC-33B4-597F16213A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80" y="9360"/>
                  <a:ext cx="1296" cy="1872"/>
                </a:xfrm>
                <a:prstGeom prst="flowChartAlternateProcess">
                  <a:avLst/>
                </a:prstGeom>
                <a:solidFill>
                  <a:srgbClr val="FFFFFF"/>
                </a:solidFill>
                <a:ln w="38100" cmpd="dbl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en-GB" altLang="en-US" sz="2400"/>
                </a:p>
              </p:txBody>
            </p:sp>
            <p:sp>
              <p:nvSpPr>
                <p:cNvPr id="4202" name="Rectangle 155">
                  <a:extLst>
                    <a:ext uri="{FF2B5EF4-FFF2-40B4-BE49-F238E27FC236}">
                      <a16:creationId xmlns:a16="http://schemas.microsoft.com/office/drawing/2014/main" id="{E7DC9C3F-FAB2-FA5B-6E88-62195EDE1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80" y="9360"/>
                  <a:ext cx="1296" cy="28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en-GB" altLang="en-US" sz="2400"/>
                </a:p>
              </p:txBody>
            </p:sp>
            <p:sp>
              <p:nvSpPr>
                <p:cNvPr id="4203" name="Rectangle 156">
                  <a:extLst>
                    <a:ext uri="{FF2B5EF4-FFF2-40B4-BE49-F238E27FC236}">
                      <a16:creationId xmlns:a16="http://schemas.microsoft.com/office/drawing/2014/main" id="{589F9AFC-CFD0-BC4A-B528-38DCC62499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80" y="9648"/>
                  <a:ext cx="1296" cy="144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en-GB" altLang="en-US" sz="2400"/>
                </a:p>
              </p:txBody>
            </p:sp>
          </p:grpSp>
          <p:sp>
            <p:nvSpPr>
              <p:cNvPr id="4199" name="Line 157">
                <a:extLst>
                  <a:ext uri="{FF2B5EF4-FFF2-40B4-BE49-F238E27FC236}">
                    <a16:creationId xmlns:a16="http://schemas.microsoft.com/office/drawing/2014/main" id="{76E19D61-F785-1176-19FF-A8FFAFA178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080" y="9360"/>
                <a:ext cx="0" cy="432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00" name="Line 158">
                <a:extLst>
                  <a:ext uri="{FF2B5EF4-FFF2-40B4-BE49-F238E27FC236}">
                    <a16:creationId xmlns:a16="http://schemas.microsoft.com/office/drawing/2014/main" id="{F65F5274-F2DA-B3E6-1E58-85CCF8FD67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376" y="9360"/>
                <a:ext cx="0" cy="432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150" name="Line 159">
              <a:extLst>
                <a:ext uri="{FF2B5EF4-FFF2-40B4-BE49-F238E27FC236}">
                  <a16:creationId xmlns:a16="http://schemas.microsoft.com/office/drawing/2014/main" id="{2D567A43-EDC4-65E5-9702-899EEF3B37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18313" y="2622550"/>
              <a:ext cx="698500" cy="150813"/>
            </a:xfrm>
            <a:prstGeom prst="line">
              <a:avLst/>
            </a:prstGeom>
            <a:noFill/>
            <a:ln w="38100" cmpd="dbl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51" name="Rectangle 160">
              <a:extLst>
                <a:ext uri="{FF2B5EF4-FFF2-40B4-BE49-F238E27FC236}">
                  <a16:creationId xmlns:a16="http://schemas.microsoft.com/office/drawing/2014/main" id="{905DB593-38B3-3310-3253-698624DA4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2300" y="5786438"/>
              <a:ext cx="233363" cy="301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4152" name="Group 161">
              <a:extLst>
                <a:ext uri="{FF2B5EF4-FFF2-40B4-BE49-F238E27FC236}">
                  <a16:creationId xmlns:a16="http://schemas.microsoft.com/office/drawing/2014/main" id="{062607B0-54FF-FA42-E346-3EC27F54404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010400" y="5786438"/>
              <a:ext cx="153988" cy="273050"/>
              <a:chOff x="8245" y="4414"/>
              <a:chExt cx="361" cy="806"/>
            </a:xfrm>
          </p:grpSpPr>
          <p:sp>
            <p:nvSpPr>
              <p:cNvPr id="4196" name="Freeform 162">
                <a:extLst>
                  <a:ext uri="{FF2B5EF4-FFF2-40B4-BE49-F238E27FC236}">
                    <a16:creationId xmlns:a16="http://schemas.microsoft.com/office/drawing/2014/main" id="{516A6CD5-482A-EC96-EB4C-0DD242B58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5" y="4567"/>
                <a:ext cx="361" cy="653"/>
              </a:xfrm>
              <a:custGeom>
                <a:avLst/>
                <a:gdLst>
                  <a:gd name="T0" fmla="*/ 0 w 1083"/>
                  <a:gd name="T1" fmla="*/ 0 h 1959"/>
                  <a:gd name="T2" fmla="*/ 0 w 1083"/>
                  <a:gd name="T3" fmla="*/ 0 h 1959"/>
                  <a:gd name="T4" fmla="*/ 0 w 1083"/>
                  <a:gd name="T5" fmla="*/ 0 h 1959"/>
                  <a:gd name="T6" fmla="*/ 0 w 1083"/>
                  <a:gd name="T7" fmla="*/ 0 h 1959"/>
                  <a:gd name="T8" fmla="*/ 0 w 1083"/>
                  <a:gd name="T9" fmla="*/ 0 h 1959"/>
                  <a:gd name="T10" fmla="*/ 0 w 1083"/>
                  <a:gd name="T11" fmla="*/ 0 h 1959"/>
                  <a:gd name="T12" fmla="*/ 0 w 1083"/>
                  <a:gd name="T13" fmla="*/ 0 h 1959"/>
                  <a:gd name="T14" fmla="*/ 0 w 1083"/>
                  <a:gd name="T15" fmla="*/ 0 h 1959"/>
                  <a:gd name="T16" fmla="*/ 0 w 1083"/>
                  <a:gd name="T17" fmla="*/ 0 h 1959"/>
                  <a:gd name="T18" fmla="*/ 0 w 1083"/>
                  <a:gd name="T19" fmla="*/ 0 h 1959"/>
                  <a:gd name="T20" fmla="*/ 0 w 1083"/>
                  <a:gd name="T21" fmla="*/ 0 h 1959"/>
                  <a:gd name="T22" fmla="*/ 0 w 1083"/>
                  <a:gd name="T23" fmla="*/ 0 h 1959"/>
                  <a:gd name="T24" fmla="*/ 0 w 1083"/>
                  <a:gd name="T25" fmla="*/ 0 h 1959"/>
                  <a:gd name="T26" fmla="*/ 0 w 1083"/>
                  <a:gd name="T27" fmla="*/ 0 h 1959"/>
                  <a:gd name="T28" fmla="*/ 0 w 1083"/>
                  <a:gd name="T29" fmla="*/ 1 h 1959"/>
                  <a:gd name="T30" fmla="*/ 0 w 1083"/>
                  <a:gd name="T31" fmla="*/ 1 h 1959"/>
                  <a:gd name="T32" fmla="*/ 0 w 1083"/>
                  <a:gd name="T33" fmla="*/ 1 h 1959"/>
                  <a:gd name="T34" fmla="*/ 0 w 1083"/>
                  <a:gd name="T35" fmla="*/ 1 h 1959"/>
                  <a:gd name="T36" fmla="*/ 0 w 1083"/>
                  <a:gd name="T37" fmla="*/ 1 h 1959"/>
                  <a:gd name="T38" fmla="*/ 0 w 1083"/>
                  <a:gd name="T39" fmla="*/ 1 h 1959"/>
                  <a:gd name="T40" fmla="*/ 0 w 1083"/>
                  <a:gd name="T41" fmla="*/ 1 h 1959"/>
                  <a:gd name="T42" fmla="*/ 0 w 1083"/>
                  <a:gd name="T43" fmla="*/ 1 h 1959"/>
                  <a:gd name="T44" fmla="*/ 0 w 1083"/>
                  <a:gd name="T45" fmla="*/ 1 h 1959"/>
                  <a:gd name="T46" fmla="*/ 0 w 1083"/>
                  <a:gd name="T47" fmla="*/ 1 h 1959"/>
                  <a:gd name="T48" fmla="*/ 0 w 1083"/>
                  <a:gd name="T49" fmla="*/ 1 h 1959"/>
                  <a:gd name="T50" fmla="*/ 0 w 1083"/>
                  <a:gd name="T51" fmla="*/ 1 h 1959"/>
                  <a:gd name="T52" fmla="*/ 0 w 1083"/>
                  <a:gd name="T53" fmla="*/ 1 h 1959"/>
                  <a:gd name="T54" fmla="*/ 0 w 1083"/>
                  <a:gd name="T55" fmla="*/ 1 h 1959"/>
                  <a:gd name="T56" fmla="*/ 0 w 1083"/>
                  <a:gd name="T57" fmla="*/ 1 h 1959"/>
                  <a:gd name="T58" fmla="*/ 0 w 1083"/>
                  <a:gd name="T59" fmla="*/ 1 h 1959"/>
                  <a:gd name="T60" fmla="*/ 0 w 1083"/>
                  <a:gd name="T61" fmla="*/ 1 h 1959"/>
                  <a:gd name="T62" fmla="*/ 0 w 1083"/>
                  <a:gd name="T63" fmla="*/ 1 h 1959"/>
                  <a:gd name="T64" fmla="*/ 0 w 1083"/>
                  <a:gd name="T65" fmla="*/ 1 h 1959"/>
                  <a:gd name="T66" fmla="*/ 0 w 1083"/>
                  <a:gd name="T67" fmla="*/ 1 h 1959"/>
                  <a:gd name="T68" fmla="*/ 0 w 1083"/>
                  <a:gd name="T69" fmla="*/ 0 h 1959"/>
                  <a:gd name="T70" fmla="*/ 0 w 1083"/>
                  <a:gd name="T71" fmla="*/ 0 h 1959"/>
                  <a:gd name="T72" fmla="*/ 0 w 1083"/>
                  <a:gd name="T73" fmla="*/ 0 h 1959"/>
                  <a:gd name="T74" fmla="*/ 0 w 1083"/>
                  <a:gd name="T75" fmla="*/ 0 h 1959"/>
                  <a:gd name="T76" fmla="*/ 0 w 1083"/>
                  <a:gd name="T77" fmla="*/ 0 h 1959"/>
                  <a:gd name="T78" fmla="*/ 0 w 1083"/>
                  <a:gd name="T79" fmla="*/ 0 h 1959"/>
                  <a:gd name="T80" fmla="*/ 0 w 1083"/>
                  <a:gd name="T81" fmla="*/ 0 h 1959"/>
                  <a:gd name="T82" fmla="*/ 0 w 1083"/>
                  <a:gd name="T83" fmla="*/ 0 h 1959"/>
                  <a:gd name="T84" fmla="*/ 0 w 1083"/>
                  <a:gd name="T85" fmla="*/ 0 h 1959"/>
                  <a:gd name="T86" fmla="*/ 0 w 1083"/>
                  <a:gd name="T87" fmla="*/ 0 h 1959"/>
                  <a:gd name="T88" fmla="*/ 0 w 1083"/>
                  <a:gd name="T89" fmla="*/ 0 h 1959"/>
                  <a:gd name="T90" fmla="*/ 0 w 1083"/>
                  <a:gd name="T91" fmla="*/ 0 h 1959"/>
                  <a:gd name="T92" fmla="*/ 0 w 1083"/>
                  <a:gd name="T93" fmla="*/ 0 h 1959"/>
                  <a:gd name="T94" fmla="*/ 0 w 1083"/>
                  <a:gd name="T95" fmla="*/ 0 h 195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083" h="1959">
                    <a:moveTo>
                      <a:pt x="295" y="0"/>
                    </a:moveTo>
                    <a:lnTo>
                      <a:pt x="794" y="0"/>
                    </a:lnTo>
                    <a:lnTo>
                      <a:pt x="805" y="3"/>
                    </a:lnTo>
                    <a:lnTo>
                      <a:pt x="816" y="4"/>
                    </a:lnTo>
                    <a:lnTo>
                      <a:pt x="828" y="8"/>
                    </a:lnTo>
                    <a:lnTo>
                      <a:pt x="840" y="13"/>
                    </a:lnTo>
                    <a:lnTo>
                      <a:pt x="853" y="21"/>
                    </a:lnTo>
                    <a:lnTo>
                      <a:pt x="862" y="28"/>
                    </a:lnTo>
                    <a:lnTo>
                      <a:pt x="874" y="35"/>
                    </a:lnTo>
                    <a:lnTo>
                      <a:pt x="883" y="47"/>
                    </a:lnTo>
                    <a:lnTo>
                      <a:pt x="891" y="55"/>
                    </a:lnTo>
                    <a:lnTo>
                      <a:pt x="900" y="65"/>
                    </a:lnTo>
                    <a:lnTo>
                      <a:pt x="905" y="75"/>
                    </a:lnTo>
                    <a:lnTo>
                      <a:pt x="911" y="86"/>
                    </a:lnTo>
                    <a:lnTo>
                      <a:pt x="917" y="99"/>
                    </a:lnTo>
                    <a:lnTo>
                      <a:pt x="921" y="106"/>
                    </a:lnTo>
                    <a:lnTo>
                      <a:pt x="924" y="120"/>
                    </a:lnTo>
                    <a:lnTo>
                      <a:pt x="930" y="140"/>
                    </a:lnTo>
                    <a:lnTo>
                      <a:pt x="931" y="154"/>
                    </a:lnTo>
                    <a:lnTo>
                      <a:pt x="934" y="173"/>
                    </a:lnTo>
                    <a:lnTo>
                      <a:pt x="1080" y="738"/>
                    </a:lnTo>
                    <a:lnTo>
                      <a:pt x="1083" y="751"/>
                    </a:lnTo>
                    <a:lnTo>
                      <a:pt x="1083" y="764"/>
                    </a:lnTo>
                    <a:lnTo>
                      <a:pt x="1081" y="778"/>
                    </a:lnTo>
                    <a:lnTo>
                      <a:pt x="1078" y="788"/>
                    </a:lnTo>
                    <a:lnTo>
                      <a:pt x="1074" y="799"/>
                    </a:lnTo>
                    <a:lnTo>
                      <a:pt x="1064" y="810"/>
                    </a:lnTo>
                    <a:lnTo>
                      <a:pt x="1056" y="822"/>
                    </a:lnTo>
                    <a:lnTo>
                      <a:pt x="1044" y="827"/>
                    </a:lnTo>
                    <a:lnTo>
                      <a:pt x="1034" y="833"/>
                    </a:lnTo>
                    <a:lnTo>
                      <a:pt x="1023" y="839"/>
                    </a:lnTo>
                    <a:lnTo>
                      <a:pt x="1012" y="839"/>
                    </a:lnTo>
                    <a:lnTo>
                      <a:pt x="1000" y="839"/>
                    </a:lnTo>
                    <a:lnTo>
                      <a:pt x="989" y="839"/>
                    </a:lnTo>
                    <a:lnTo>
                      <a:pt x="978" y="837"/>
                    </a:lnTo>
                    <a:lnTo>
                      <a:pt x="969" y="832"/>
                    </a:lnTo>
                    <a:lnTo>
                      <a:pt x="959" y="826"/>
                    </a:lnTo>
                    <a:lnTo>
                      <a:pt x="949" y="819"/>
                    </a:lnTo>
                    <a:lnTo>
                      <a:pt x="942" y="812"/>
                    </a:lnTo>
                    <a:lnTo>
                      <a:pt x="934" y="800"/>
                    </a:lnTo>
                    <a:lnTo>
                      <a:pt x="930" y="788"/>
                    </a:lnTo>
                    <a:lnTo>
                      <a:pt x="925" y="779"/>
                    </a:lnTo>
                    <a:lnTo>
                      <a:pt x="785" y="278"/>
                    </a:lnTo>
                    <a:lnTo>
                      <a:pt x="737" y="278"/>
                    </a:lnTo>
                    <a:lnTo>
                      <a:pt x="976" y="1211"/>
                    </a:lnTo>
                    <a:lnTo>
                      <a:pt x="784" y="1211"/>
                    </a:lnTo>
                    <a:lnTo>
                      <a:pt x="786" y="1870"/>
                    </a:lnTo>
                    <a:lnTo>
                      <a:pt x="784" y="1884"/>
                    </a:lnTo>
                    <a:lnTo>
                      <a:pt x="781" y="1894"/>
                    </a:lnTo>
                    <a:lnTo>
                      <a:pt x="774" y="1907"/>
                    </a:lnTo>
                    <a:lnTo>
                      <a:pt x="768" y="1918"/>
                    </a:lnTo>
                    <a:lnTo>
                      <a:pt x="760" y="1928"/>
                    </a:lnTo>
                    <a:lnTo>
                      <a:pt x="752" y="1937"/>
                    </a:lnTo>
                    <a:lnTo>
                      <a:pt x="741" y="1945"/>
                    </a:lnTo>
                    <a:lnTo>
                      <a:pt x="730" y="1949"/>
                    </a:lnTo>
                    <a:lnTo>
                      <a:pt x="718" y="1955"/>
                    </a:lnTo>
                    <a:lnTo>
                      <a:pt x="709" y="1958"/>
                    </a:lnTo>
                    <a:lnTo>
                      <a:pt x="697" y="1959"/>
                    </a:lnTo>
                    <a:lnTo>
                      <a:pt x="686" y="1959"/>
                    </a:lnTo>
                    <a:lnTo>
                      <a:pt x="673" y="1959"/>
                    </a:lnTo>
                    <a:lnTo>
                      <a:pt x="663" y="1957"/>
                    </a:lnTo>
                    <a:lnTo>
                      <a:pt x="650" y="1951"/>
                    </a:lnTo>
                    <a:lnTo>
                      <a:pt x="641" y="1947"/>
                    </a:lnTo>
                    <a:lnTo>
                      <a:pt x="631" y="1942"/>
                    </a:lnTo>
                    <a:lnTo>
                      <a:pt x="624" y="1932"/>
                    </a:lnTo>
                    <a:lnTo>
                      <a:pt x="615" y="1925"/>
                    </a:lnTo>
                    <a:lnTo>
                      <a:pt x="608" y="1918"/>
                    </a:lnTo>
                    <a:lnTo>
                      <a:pt x="602" y="1907"/>
                    </a:lnTo>
                    <a:lnTo>
                      <a:pt x="598" y="1898"/>
                    </a:lnTo>
                    <a:lnTo>
                      <a:pt x="595" y="1890"/>
                    </a:lnTo>
                    <a:lnTo>
                      <a:pt x="592" y="1877"/>
                    </a:lnTo>
                    <a:lnTo>
                      <a:pt x="590" y="1870"/>
                    </a:lnTo>
                    <a:lnTo>
                      <a:pt x="592" y="1217"/>
                    </a:lnTo>
                    <a:lnTo>
                      <a:pt x="495" y="1217"/>
                    </a:lnTo>
                    <a:lnTo>
                      <a:pt x="495" y="1870"/>
                    </a:lnTo>
                    <a:lnTo>
                      <a:pt x="493" y="1879"/>
                    </a:lnTo>
                    <a:lnTo>
                      <a:pt x="492" y="1890"/>
                    </a:lnTo>
                    <a:lnTo>
                      <a:pt x="488" y="1898"/>
                    </a:lnTo>
                    <a:lnTo>
                      <a:pt x="483" y="1908"/>
                    </a:lnTo>
                    <a:lnTo>
                      <a:pt x="476" y="1918"/>
                    </a:lnTo>
                    <a:lnTo>
                      <a:pt x="469" y="1930"/>
                    </a:lnTo>
                    <a:lnTo>
                      <a:pt x="462" y="1937"/>
                    </a:lnTo>
                    <a:lnTo>
                      <a:pt x="451" y="1944"/>
                    </a:lnTo>
                    <a:lnTo>
                      <a:pt x="441" y="1949"/>
                    </a:lnTo>
                    <a:lnTo>
                      <a:pt x="429" y="1955"/>
                    </a:lnTo>
                    <a:lnTo>
                      <a:pt x="418" y="1958"/>
                    </a:lnTo>
                    <a:lnTo>
                      <a:pt x="408" y="1959"/>
                    </a:lnTo>
                    <a:lnTo>
                      <a:pt x="397" y="1959"/>
                    </a:lnTo>
                    <a:lnTo>
                      <a:pt x="386" y="1959"/>
                    </a:lnTo>
                    <a:lnTo>
                      <a:pt x="374" y="1957"/>
                    </a:lnTo>
                    <a:lnTo>
                      <a:pt x="363" y="1952"/>
                    </a:lnTo>
                    <a:lnTo>
                      <a:pt x="352" y="1948"/>
                    </a:lnTo>
                    <a:lnTo>
                      <a:pt x="342" y="1942"/>
                    </a:lnTo>
                    <a:lnTo>
                      <a:pt x="335" y="1937"/>
                    </a:lnTo>
                    <a:lnTo>
                      <a:pt x="326" y="1930"/>
                    </a:lnTo>
                    <a:lnTo>
                      <a:pt x="322" y="1921"/>
                    </a:lnTo>
                    <a:lnTo>
                      <a:pt x="313" y="1913"/>
                    </a:lnTo>
                    <a:lnTo>
                      <a:pt x="309" y="1901"/>
                    </a:lnTo>
                    <a:lnTo>
                      <a:pt x="303" y="1890"/>
                    </a:lnTo>
                    <a:lnTo>
                      <a:pt x="303" y="1879"/>
                    </a:lnTo>
                    <a:lnTo>
                      <a:pt x="302" y="1870"/>
                    </a:lnTo>
                    <a:lnTo>
                      <a:pt x="302" y="1217"/>
                    </a:lnTo>
                    <a:lnTo>
                      <a:pt x="108" y="1217"/>
                    </a:lnTo>
                    <a:lnTo>
                      <a:pt x="350" y="276"/>
                    </a:lnTo>
                    <a:lnTo>
                      <a:pt x="302" y="276"/>
                    </a:lnTo>
                    <a:lnTo>
                      <a:pt x="160" y="786"/>
                    </a:lnTo>
                    <a:lnTo>
                      <a:pt x="153" y="802"/>
                    </a:lnTo>
                    <a:lnTo>
                      <a:pt x="148" y="815"/>
                    </a:lnTo>
                    <a:lnTo>
                      <a:pt x="140" y="826"/>
                    </a:lnTo>
                    <a:lnTo>
                      <a:pt x="133" y="837"/>
                    </a:lnTo>
                    <a:lnTo>
                      <a:pt x="122" y="843"/>
                    </a:lnTo>
                    <a:lnTo>
                      <a:pt x="115" y="847"/>
                    </a:lnTo>
                    <a:lnTo>
                      <a:pt x="101" y="851"/>
                    </a:lnTo>
                    <a:lnTo>
                      <a:pt x="88" y="854"/>
                    </a:lnTo>
                    <a:lnTo>
                      <a:pt x="72" y="853"/>
                    </a:lnTo>
                    <a:lnTo>
                      <a:pt x="63" y="851"/>
                    </a:lnTo>
                    <a:lnTo>
                      <a:pt x="53" y="851"/>
                    </a:lnTo>
                    <a:lnTo>
                      <a:pt x="41" y="844"/>
                    </a:lnTo>
                    <a:lnTo>
                      <a:pt x="31" y="839"/>
                    </a:lnTo>
                    <a:lnTo>
                      <a:pt x="21" y="830"/>
                    </a:lnTo>
                    <a:lnTo>
                      <a:pt x="14" y="823"/>
                    </a:lnTo>
                    <a:lnTo>
                      <a:pt x="9" y="812"/>
                    </a:lnTo>
                    <a:lnTo>
                      <a:pt x="4" y="802"/>
                    </a:lnTo>
                    <a:lnTo>
                      <a:pt x="2" y="793"/>
                    </a:lnTo>
                    <a:lnTo>
                      <a:pt x="0" y="782"/>
                    </a:lnTo>
                    <a:lnTo>
                      <a:pt x="0" y="769"/>
                    </a:lnTo>
                    <a:lnTo>
                      <a:pt x="0" y="762"/>
                    </a:lnTo>
                    <a:lnTo>
                      <a:pt x="3" y="754"/>
                    </a:lnTo>
                    <a:lnTo>
                      <a:pt x="153" y="164"/>
                    </a:lnTo>
                    <a:lnTo>
                      <a:pt x="155" y="149"/>
                    </a:lnTo>
                    <a:lnTo>
                      <a:pt x="159" y="136"/>
                    </a:lnTo>
                    <a:lnTo>
                      <a:pt x="160" y="127"/>
                    </a:lnTo>
                    <a:lnTo>
                      <a:pt x="163" y="116"/>
                    </a:lnTo>
                    <a:lnTo>
                      <a:pt x="167" y="103"/>
                    </a:lnTo>
                    <a:lnTo>
                      <a:pt x="170" y="92"/>
                    </a:lnTo>
                    <a:lnTo>
                      <a:pt x="179" y="78"/>
                    </a:lnTo>
                    <a:lnTo>
                      <a:pt x="186" y="67"/>
                    </a:lnTo>
                    <a:lnTo>
                      <a:pt x="193" y="57"/>
                    </a:lnTo>
                    <a:lnTo>
                      <a:pt x="203" y="47"/>
                    </a:lnTo>
                    <a:lnTo>
                      <a:pt x="213" y="35"/>
                    </a:lnTo>
                    <a:lnTo>
                      <a:pt x="223" y="30"/>
                    </a:lnTo>
                    <a:lnTo>
                      <a:pt x="233" y="21"/>
                    </a:lnTo>
                    <a:lnTo>
                      <a:pt x="247" y="13"/>
                    </a:lnTo>
                    <a:lnTo>
                      <a:pt x="259" y="8"/>
                    </a:lnTo>
                    <a:lnTo>
                      <a:pt x="275" y="3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97" name="Oval 163">
                <a:extLst>
                  <a:ext uri="{FF2B5EF4-FFF2-40B4-BE49-F238E27FC236}">
                    <a16:creationId xmlns:a16="http://schemas.microsoft.com/office/drawing/2014/main" id="{072492CC-09BB-75BD-FD3B-F49CCE2C84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61" y="4414"/>
                <a:ext cx="124" cy="12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grpSp>
          <p:nvGrpSpPr>
            <p:cNvPr id="4153" name="Group 164">
              <a:extLst>
                <a:ext uri="{FF2B5EF4-FFF2-40B4-BE49-F238E27FC236}">
                  <a16:creationId xmlns:a16="http://schemas.microsoft.com/office/drawing/2014/main" id="{0D63B929-3EE5-A263-A0DD-81F7AB3E0DE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61238" y="5786438"/>
              <a:ext cx="103187" cy="273050"/>
              <a:chOff x="1882" y="550"/>
              <a:chExt cx="1592" cy="4268"/>
            </a:xfrm>
          </p:grpSpPr>
          <p:sp>
            <p:nvSpPr>
              <p:cNvPr id="4194" name="Freeform 165">
                <a:extLst>
                  <a:ext uri="{FF2B5EF4-FFF2-40B4-BE49-F238E27FC236}">
                    <a16:creationId xmlns:a16="http://schemas.microsoft.com/office/drawing/2014/main" id="{61FD2331-29D0-36BE-D0D1-F591275E05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2" y="1363"/>
                <a:ext cx="1592" cy="3455"/>
              </a:xfrm>
              <a:custGeom>
                <a:avLst/>
                <a:gdLst>
                  <a:gd name="T0" fmla="*/ 1242 w 1592"/>
                  <a:gd name="T1" fmla="*/ 2 h 3455"/>
                  <a:gd name="T2" fmla="*/ 1307 w 1592"/>
                  <a:gd name="T3" fmla="*/ 12 h 3455"/>
                  <a:gd name="T4" fmla="*/ 1372 w 1592"/>
                  <a:gd name="T5" fmla="*/ 30 h 3455"/>
                  <a:gd name="T6" fmla="*/ 1427 w 1592"/>
                  <a:gd name="T7" fmla="*/ 57 h 3455"/>
                  <a:gd name="T8" fmla="*/ 1497 w 1592"/>
                  <a:gd name="T9" fmla="*/ 105 h 3455"/>
                  <a:gd name="T10" fmla="*/ 1552 w 1592"/>
                  <a:gd name="T11" fmla="*/ 165 h 3455"/>
                  <a:gd name="T12" fmla="*/ 1590 w 1592"/>
                  <a:gd name="T13" fmla="*/ 242 h 3455"/>
                  <a:gd name="T14" fmla="*/ 1590 w 1592"/>
                  <a:gd name="T15" fmla="*/ 1572 h 3455"/>
                  <a:gd name="T16" fmla="*/ 1575 w 1592"/>
                  <a:gd name="T17" fmla="*/ 1617 h 3455"/>
                  <a:gd name="T18" fmla="*/ 1542 w 1592"/>
                  <a:gd name="T19" fmla="*/ 1662 h 3455"/>
                  <a:gd name="T20" fmla="*/ 1487 w 1592"/>
                  <a:gd name="T21" fmla="*/ 1692 h 3455"/>
                  <a:gd name="T22" fmla="*/ 1427 w 1592"/>
                  <a:gd name="T23" fmla="*/ 1695 h 3455"/>
                  <a:gd name="T24" fmla="*/ 1375 w 1592"/>
                  <a:gd name="T25" fmla="*/ 1680 h 3455"/>
                  <a:gd name="T26" fmla="*/ 1337 w 1592"/>
                  <a:gd name="T27" fmla="*/ 1642 h 3455"/>
                  <a:gd name="T28" fmla="*/ 1320 w 1592"/>
                  <a:gd name="T29" fmla="*/ 1607 h 3455"/>
                  <a:gd name="T30" fmla="*/ 1307 w 1592"/>
                  <a:gd name="T31" fmla="*/ 1567 h 3455"/>
                  <a:gd name="T32" fmla="*/ 1217 w 1592"/>
                  <a:gd name="T33" fmla="*/ 3262 h 3455"/>
                  <a:gd name="T34" fmla="*/ 1200 w 1592"/>
                  <a:gd name="T35" fmla="*/ 3345 h 3455"/>
                  <a:gd name="T36" fmla="*/ 1152 w 1592"/>
                  <a:gd name="T37" fmla="*/ 3412 h 3455"/>
                  <a:gd name="T38" fmla="*/ 1090 w 1592"/>
                  <a:gd name="T39" fmla="*/ 3445 h 3455"/>
                  <a:gd name="T40" fmla="*/ 1035 w 1592"/>
                  <a:gd name="T41" fmla="*/ 3455 h 3455"/>
                  <a:gd name="T42" fmla="*/ 962 w 1592"/>
                  <a:gd name="T43" fmla="*/ 3445 h 3455"/>
                  <a:gd name="T44" fmla="*/ 905 w 1592"/>
                  <a:gd name="T45" fmla="*/ 3407 h 3455"/>
                  <a:gd name="T46" fmla="*/ 862 w 1592"/>
                  <a:gd name="T47" fmla="*/ 3355 h 3455"/>
                  <a:gd name="T48" fmla="*/ 842 w 1592"/>
                  <a:gd name="T49" fmla="*/ 3305 h 3455"/>
                  <a:gd name="T50" fmla="*/ 748 w 1592"/>
                  <a:gd name="T51" fmla="*/ 1655 h 3455"/>
                  <a:gd name="T52" fmla="*/ 738 w 1592"/>
                  <a:gd name="T53" fmla="*/ 3320 h 3455"/>
                  <a:gd name="T54" fmla="*/ 698 w 1592"/>
                  <a:gd name="T55" fmla="*/ 3395 h 3455"/>
                  <a:gd name="T56" fmla="*/ 630 w 1592"/>
                  <a:gd name="T57" fmla="*/ 3442 h 3455"/>
                  <a:gd name="T58" fmla="*/ 545 w 1592"/>
                  <a:gd name="T59" fmla="*/ 3455 h 3455"/>
                  <a:gd name="T60" fmla="*/ 483 w 1592"/>
                  <a:gd name="T61" fmla="*/ 3440 h 3455"/>
                  <a:gd name="T62" fmla="*/ 423 w 1592"/>
                  <a:gd name="T63" fmla="*/ 3397 h 3455"/>
                  <a:gd name="T64" fmla="*/ 385 w 1592"/>
                  <a:gd name="T65" fmla="*/ 3345 h 3455"/>
                  <a:gd name="T66" fmla="*/ 370 w 1592"/>
                  <a:gd name="T67" fmla="*/ 3277 h 3455"/>
                  <a:gd name="T68" fmla="*/ 280 w 1592"/>
                  <a:gd name="T69" fmla="*/ 1567 h 3455"/>
                  <a:gd name="T70" fmla="*/ 263 w 1592"/>
                  <a:gd name="T71" fmla="*/ 1620 h 3455"/>
                  <a:gd name="T72" fmla="*/ 240 w 1592"/>
                  <a:gd name="T73" fmla="*/ 1652 h 3455"/>
                  <a:gd name="T74" fmla="*/ 208 w 1592"/>
                  <a:gd name="T75" fmla="*/ 1682 h 3455"/>
                  <a:gd name="T76" fmla="*/ 170 w 1592"/>
                  <a:gd name="T77" fmla="*/ 1695 h 3455"/>
                  <a:gd name="T78" fmla="*/ 123 w 1592"/>
                  <a:gd name="T79" fmla="*/ 1695 h 3455"/>
                  <a:gd name="T80" fmla="*/ 83 w 1592"/>
                  <a:gd name="T81" fmla="*/ 1687 h 3455"/>
                  <a:gd name="T82" fmla="*/ 50 w 1592"/>
                  <a:gd name="T83" fmla="*/ 1667 h 3455"/>
                  <a:gd name="T84" fmla="*/ 23 w 1592"/>
                  <a:gd name="T85" fmla="*/ 1637 h 3455"/>
                  <a:gd name="T86" fmla="*/ 5 w 1592"/>
                  <a:gd name="T87" fmla="*/ 1600 h 3455"/>
                  <a:gd name="T88" fmla="*/ 0 w 1592"/>
                  <a:gd name="T89" fmla="*/ 282 h 3455"/>
                  <a:gd name="T90" fmla="*/ 33 w 1592"/>
                  <a:gd name="T91" fmla="*/ 172 h 3455"/>
                  <a:gd name="T92" fmla="*/ 93 w 1592"/>
                  <a:gd name="T93" fmla="*/ 105 h 3455"/>
                  <a:gd name="T94" fmla="*/ 195 w 1592"/>
                  <a:gd name="T95" fmla="*/ 42 h 3455"/>
                  <a:gd name="T96" fmla="*/ 303 w 1592"/>
                  <a:gd name="T97" fmla="*/ 10 h 345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592" h="3455">
                    <a:moveTo>
                      <a:pt x="380" y="0"/>
                    </a:moveTo>
                    <a:lnTo>
                      <a:pt x="1220" y="2"/>
                    </a:lnTo>
                    <a:lnTo>
                      <a:pt x="1242" y="2"/>
                    </a:lnTo>
                    <a:lnTo>
                      <a:pt x="1265" y="5"/>
                    </a:lnTo>
                    <a:lnTo>
                      <a:pt x="1287" y="7"/>
                    </a:lnTo>
                    <a:lnTo>
                      <a:pt x="1307" y="12"/>
                    </a:lnTo>
                    <a:lnTo>
                      <a:pt x="1327" y="17"/>
                    </a:lnTo>
                    <a:lnTo>
                      <a:pt x="1350" y="22"/>
                    </a:lnTo>
                    <a:lnTo>
                      <a:pt x="1372" y="30"/>
                    </a:lnTo>
                    <a:lnTo>
                      <a:pt x="1392" y="37"/>
                    </a:lnTo>
                    <a:lnTo>
                      <a:pt x="1410" y="47"/>
                    </a:lnTo>
                    <a:lnTo>
                      <a:pt x="1427" y="57"/>
                    </a:lnTo>
                    <a:lnTo>
                      <a:pt x="1452" y="72"/>
                    </a:lnTo>
                    <a:lnTo>
                      <a:pt x="1472" y="85"/>
                    </a:lnTo>
                    <a:lnTo>
                      <a:pt x="1497" y="105"/>
                    </a:lnTo>
                    <a:lnTo>
                      <a:pt x="1520" y="125"/>
                    </a:lnTo>
                    <a:lnTo>
                      <a:pt x="1537" y="145"/>
                    </a:lnTo>
                    <a:lnTo>
                      <a:pt x="1552" y="165"/>
                    </a:lnTo>
                    <a:lnTo>
                      <a:pt x="1570" y="192"/>
                    </a:lnTo>
                    <a:lnTo>
                      <a:pt x="1577" y="212"/>
                    </a:lnTo>
                    <a:lnTo>
                      <a:pt x="1590" y="242"/>
                    </a:lnTo>
                    <a:lnTo>
                      <a:pt x="1592" y="267"/>
                    </a:lnTo>
                    <a:lnTo>
                      <a:pt x="1592" y="290"/>
                    </a:lnTo>
                    <a:lnTo>
                      <a:pt x="1590" y="1572"/>
                    </a:lnTo>
                    <a:lnTo>
                      <a:pt x="1587" y="1587"/>
                    </a:lnTo>
                    <a:lnTo>
                      <a:pt x="1580" y="1600"/>
                    </a:lnTo>
                    <a:lnTo>
                      <a:pt x="1575" y="1617"/>
                    </a:lnTo>
                    <a:lnTo>
                      <a:pt x="1570" y="1630"/>
                    </a:lnTo>
                    <a:lnTo>
                      <a:pt x="1555" y="1645"/>
                    </a:lnTo>
                    <a:lnTo>
                      <a:pt x="1542" y="1662"/>
                    </a:lnTo>
                    <a:lnTo>
                      <a:pt x="1525" y="1675"/>
                    </a:lnTo>
                    <a:lnTo>
                      <a:pt x="1502" y="1687"/>
                    </a:lnTo>
                    <a:lnTo>
                      <a:pt x="1487" y="1692"/>
                    </a:lnTo>
                    <a:lnTo>
                      <a:pt x="1467" y="1695"/>
                    </a:lnTo>
                    <a:lnTo>
                      <a:pt x="1447" y="1695"/>
                    </a:lnTo>
                    <a:lnTo>
                      <a:pt x="1427" y="1695"/>
                    </a:lnTo>
                    <a:lnTo>
                      <a:pt x="1407" y="1692"/>
                    </a:lnTo>
                    <a:lnTo>
                      <a:pt x="1390" y="1685"/>
                    </a:lnTo>
                    <a:lnTo>
                      <a:pt x="1375" y="1680"/>
                    </a:lnTo>
                    <a:lnTo>
                      <a:pt x="1362" y="1667"/>
                    </a:lnTo>
                    <a:lnTo>
                      <a:pt x="1350" y="1657"/>
                    </a:lnTo>
                    <a:lnTo>
                      <a:pt x="1337" y="1642"/>
                    </a:lnTo>
                    <a:lnTo>
                      <a:pt x="1330" y="1630"/>
                    </a:lnTo>
                    <a:lnTo>
                      <a:pt x="1320" y="1620"/>
                    </a:lnTo>
                    <a:lnTo>
                      <a:pt x="1320" y="1607"/>
                    </a:lnTo>
                    <a:lnTo>
                      <a:pt x="1315" y="1595"/>
                    </a:lnTo>
                    <a:lnTo>
                      <a:pt x="1310" y="1585"/>
                    </a:lnTo>
                    <a:lnTo>
                      <a:pt x="1307" y="1567"/>
                    </a:lnTo>
                    <a:lnTo>
                      <a:pt x="1310" y="585"/>
                    </a:lnTo>
                    <a:lnTo>
                      <a:pt x="1217" y="585"/>
                    </a:lnTo>
                    <a:lnTo>
                      <a:pt x="1217" y="3262"/>
                    </a:lnTo>
                    <a:lnTo>
                      <a:pt x="1217" y="3287"/>
                    </a:lnTo>
                    <a:lnTo>
                      <a:pt x="1210" y="3317"/>
                    </a:lnTo>
                    <a:lnTo>
                      <a:pt x="1200" y="3345"/>
                    </a:lnTo>
                    <a:lnTo>
                      <a:pt x="1187" y="3372"/>
                    </a:lnTo>
                    <a:lnTo>
                      <a:pt x="1167" y="3392"/>
                    </a:lnTo>
                    <a:lnTo>
                      <a:pt x="1152" y="3412"/>
                    </a:lnTo>
                    <a:lnTo>
                      <a:pt x="1135" y="3422"/>
                    </a:lnTo>
                    <a:lnTo>
                      <a:pt x="1112" y="3440"/>
                    </a:lnTo>
                    <a:lnTo>
                      <a:pt x="1090" y="3445"/>
                    </a:lnTo>
                    <a:lnTo>
                      <a:pt x="1070" y="3450"/>
                    </a:lnTo>
                    <a:lnTo>
                      <a:pt x="1052" y="3452"/>
                    </a:lnTo>
                    <a:lnTo>
                      <a:pt x="1035" y="3455"/>
                    </a:lnTo>
                    <a:lnTo>
                      <a:pt x="1015" y="3455"/>
                    </a:lnTo>
                    <a:lnTo>
                      <a:pt x="990" y="3452"/>
                    </a:lnTo>
                    <a:lnTo>
                      <a:pt x="962" y="3445"/>
                    </a:lnTo>
                    <a:lnTo>
                      <a:pt x="940" y="3432"/>
                    </a:lnTo>
                    <a:lnTo>
                      <a:pt x="920" y="3422"/>
                    </a:lnTo>
                    <a:lnTo>
                      <a:pt x="905" y="3407"/>
                    </a:lnTo>
                    <a:lnTo>
                      <a:pt x="890" y="3397"/>
                    </a:lnTo>
                    <a:lnTo>
                      <a:pt x="875" y="3375"/>
                    </a:lnTo>
                    <a:lnTo>
                      <a:pt x="862" y="3355"/>
                    </a:lnTo>
                    <a:lnTo>
                      <a:pt x="855" y="3342"/>
                    </a:lnTo>
                    <a:lnTo>
                      <a:pt x="850" y="3322"/>
                    </a:lnTo>
                    <a:lnTo>
                      <a:pt x="842" y="3305"/>
                    </a:lnTo>
                    <a:lnTo>
                      <a:pt x="840" y="3285"/>
                    </a:lnTo>
                    <a:lnTo>
                      <a:pt x="840" y="1655"/>
                    </a:lnTo>
                    <a:lnTo>
                      <a:pt x="748" y="1655"/>
                    </a:lnTo>
                    <a:lnTo>
                      <a:pt x="745" y="3275"/>
                    </a:lnTo>
                    <a:lnTo>
                      <a:pt x="743" y="3300"/>
                    </a:lnTo>
                    <a:lnTo>
                      <a:pt x="738" y="3320"/>
                    </a:lnTo>
                    <a:lnTo>
                      <a:pt x="725" y="3347"/>
                    </a:lnTo>
                    <a:lnTo>
                      <a:pt x="715" y="3370"/>
                    </a:lnTo>
                    <a:lnTo>
                      <a:pt x="698" y="3395"/>
                    </a:lnTo>
                    <a:lnTo>
                      <a:pt x="678" y="3415"/>
                    </a:lnTo>
                    <a:lnTo>
                      <a:pt x="655" y="3430"/>
                    </a:lnTo>
                    <a:lnTo>
                      <a:pt x="630" y="3442"/>
                    </a:lnTo>
                    <a:lnTo>
                      <a:pt x="600" y="3452"/>
                    </a:lnTo>
                    <a:lnTo>
                      <a:pt x="573" y="3455"/>
                    </a:lnTo>
                    <a:lnTo>
                      <a:pt x="545" y="3455"/>
                    </a:lnTo>
                    <a:lnTo>
                      <a:pt x="523" y="3452"/>
                    </a:lnTo>
                    <a:lnTo>
                      <a:pt x="503" y="3447"/>
                    </a:lnTo>
                    <a:lnTo>
                      <a:pt x="483" y="3440"/>
                    </a:lnTo>
                    <a:lnTo>
                      <a:pt x="463" y="3430"/>
                    </a:lnTo>
                    <a:lnTo>
                      <a:pt x="443" y="3417"/>
                    </a:lnTo>
                    <a:lnTo>
                      <a:pt x="423" y="3397"/>
                    </a:lnTo>
                    <a:lnTo>
                      <a:pt x="413" y="3382"/>
                    </a:lnTo>
                    <a:lnTo>
                      <a:pt x="398" y="3365"/>
                    </a:lnTo>
                    <a:lnTo>
                      <a:pt x="385" y="3345"/>
                    </a:lnTo>
                    <a:lnTo>
                      <a:pt x="383" y="3325"/>
                    </a:lnTo>
                    <a:lnTo>
                      <a:pt x="378" y="3310"/>
                    </a:lnTo>
                    <a:lnTo>
                      <a:pt x="370" y="3277"/>
                    </a:lnTo>
                    <a:lnTo>
                      <a:pt x="373" y="585"/>
                    </a:lnTo>
                    <a:lnTo>
                      <a:pt x="280" y="585"/>
                    </a:lnTo>
                    <a:lnTo>
                      <a:pt x="280" y="1567"/>
                    </a:lnTo>
                    <a:lnTo>
                      <a:pt x="275" y="1585"/>
                    </a:lnTo>
                    <a:lnTo>
                      <a:pt x="270" y="1605"/>
                    </a:lnTo>
                    <a:lnTo>
                      <a:pt x="263" y="1620"/>
                    </a:lnTo>
                    <a:lnTo>
                      <a:pt x="253" y="1637"/>
                    </a:lnTo>
                    <a:lnTo>
                      <a:pt x="250" y="1642"/>
                    </a:lnTo>
                    <a:lnTo>
                      <a:pt x="240" y="1652"/>
                    </a:lnTo>
                    <a:lnTo>
                      <a:pt x="230" y="1662"/>
                    </a:lnTo>
                    <a:lnTo>
                      <a:pt x="220" y="1670"/>
                    </a:lnTo>
                    <a:lnTo>
                      <a:pt x="208" y="1682"/>
                    </a:lnTo>
                    <a:lnTo>
                      <a:pt x="198" y="1685"/>
                    </a:lnTo>
                    <a:lnTo>
                      <a:pt x="183" y="1692"/>
                    </a:lnTo>
                    <a:lnTo>
                      <a:pt x="170" y="1695"/>
                    </a:lnTo>
                    <a:lnTo>
                      <a:pt x="160" y="1695"/>
                    </a:lnTo>
                    <a:lnTo>
                      <a:pt x="150" y="1695"/>
                    </a:lnTo>
                    <a:lnTo>
                      <a:pt x="123" y="1695"/>
                    </a:lnTo>
                    <a:lnTo>
                      <a:pt x="113" y="1695"/>
                    </a:lnTo>
                    <a:lnTo>
                      <a:pt x="100" y="1692"/>
                    </a:lnTo>
                    <a:lnTo>
                      <a:pt x="83" y="1687"/>
                    </a:lnTo>
                    <a:lnTo>
                      <a:pt x="75" y="1682"/>
                    </a:lnTo>
                    <a:lnTo>
                      <a:pt x="63" y="1675"/>
                    </a:lnTo>
                    <a:lnTo>
                      <a:pt x="50" y="1667"/>
                    </a:lnTo>
                    <a:lnTo>
                      <a:pt x="43" y="1660"/>
                    </a:lnTo>
                    <a:lnTo>
                      <a:pt x="33" y="1645"/>
                    </a:lnTo>
                    <a:lnTo>
                      <a:pt x="23" y="1637"/>
                    </a:lnTo>
                    <a:lnTo>
                      <a:pt x="15" y="1625"/>
                    </a:lnTo>
                    <a:lnTo>
                      <a:pt x="13" y="1617"/>
                    </a:lnTo>
                    <a:lnTo>
                      <a:pt x="5" y="1600"/>
                    </a:lnTo>
                    <a:lnTo>
                      <a:pt x="3" y="1587"/>
                    </a:lnTo>
                    <a:lnTo>
                      <a:pt x="0" y="1572"/>
                    </a:lnTo>
                    <a:lnTo>
                      <a:pt x="0" y="282"/>
                    </a:lnTo>
                    <a:lnTo>
                      <a:pt x="3" y="240"/>
                    </a:lnTo>
                    <a:lnTo>
                      <a:pt x="13" y="205"/>
                    </a:lnTo>
                    <a:lnTo>
                      <a:pt x="33" y="172"/>
                    </a:lnTo>
                    <a:lnTo>
                      <a:pt x="50" y="147"/>
                    </a:lnTo>
                    <a:lnTo>
                      <a:pt x="73" y="127"/>
                    </a:lnTo>
                    <a:lnTo>
                      <a:pt x="93" y="105"/>
                    </a:lnTo>
                    <a:lnTo>
                      <a:pt x="128" y="80"/>
                    </a:lnTo>
                    <a:lnTo>
                      <a:pt x="165" y="57"/>
                    </a:lnTo>
                    <a:lnTo>
                      <a:pt x="195" y="42"/>
                    </a:lnTo>
                    <a:lnTo>
                      <a:pt x="220" y="32"/>
                    </a:lnTo>
                    <a:lnTo>
                      <a:pt x="263" y="17"/>
                    </a:lnTo>
                    <a:lnTo>
                      <a:pt x="303" y="10"/>
                    </a:lnTo>
                    <a:lnTo>
                      <a:pt x="340" y="5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95" name="Oval 166">
                <a:extLst>
                  <a:ext uri="{FF2B5EF4-FFF2-40B4-BE49-F238E27FC236}">
                    <a16:creationId xmlns:a16="http://schemas.microsoft.com/office/drawing/2014/main" id="{78BB4169-FF2B-5F7A-679E-8B21D60F241D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2312" y="550"/>
                <a:ext cx="657" cy="680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sp>
          <p:nvSpPr>
            <p:cNvPr id="4154" name="Line 168">
              <a:extLst>
                <a:ext uri="{FF2B5EF4-FFF2-40B4-BE49-F238E27FC236}">
                  <a16:creationId xmlns:a16="http://schemas.microsoft.com/office/drawing/2014/main" id="{8B17FA38-DCB9-AA49-CC0F-2A7C506B677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70800" y="5410200"/>
              <a:ext cx="155575" cy="22542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55" name="Freeform 169">
              <a:extLst>
                <a:ext uri="{FF2B5EF4-FFF2-40B4-BE49-F238E27FC236}">
                  <a16:creationId xmlns:a16="http://schemas.microsoft.com/office/drawing/2014/main" id="{3E66D9D1-D37A-FFA6-0D93-C5BB7F5DD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1238" y="3451225"/>
              <a:ext cx="620712" cy="1882775"/>
            </a:xfrm>
            <a:custGeom>
              <a:avLst/>
              <a:gdLst>
                <a:gd name="T0" fmla="*/ 2147483646 w 1152"/>
                <a:gd name="T1" fmla="*/ 0 h 3600"/>
                <a:gd name="T2" fmla="*/ 2147483646 w 1152"/>
                <a:gd name="T3" fmla="*/ 2147483646 h 3600"/>
                <a:gd name="T4" fmla="*/ 2147483646 w 1152"/>
                <a:gd name="T5" fmla="*/ 2147483646 h 3600"/>
                <a:gd name="T6" fmla="*/ 0 w 1152"/>
                <a:gd name="T7" fmla="*/ 0 h 3600"/>
                <a:gd name="T8" fmla="*/ 2147483646 w 1152"/>
                <a:gd name="T9" fmla="*/ 0 h 3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52" h="3600">
                  <a:moveTo>
                    <a:pt x="288" y="0"/>
                  </a:moveTo>
                  <a:lnTo>
                    <a:pt x="1152" y="3600"/>
                  </a:lnTo>
                  <a:lnTo>
                    <a:pt x="864" y="3600"/>
                  </a:lnTo>
                  <a:lnTo>
                    <a:pt x="0" y="0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56" name="Freeform 170">
              <a:extLst>
                <a:ext uri="{FF2B5EF4-FFF2-40B4-BE49-F238E27FC236}">
                  <a16:creationId xmlns:a16="http://schemas.microsoft.com/office/drawing/2014/main" id="{1F635DFF-805A-02D6-6CB8-2E84C0B7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3225" y="3068638"/>
              <a:ext cx="1708150" cy="2562225"/>
            </a:xfrm>
            <a:custGeom>
              <a:avLst/>
              <a:gdLst>
                <a:gd name="T0" fmla="*/ 0 w 3312"/>
                <a:gd name="T1" fmla="*/ 2147483646 h 4896"/>
                <a:gd name="T2" fmla="*/ 2147483646 w 3312"/>
                <a:gd name="T3" fmla="*/ 0 h 4896"/>
                <a:gd name="T4" fmla="*/ 2147483646 w 3312"/>
                <a:gd name="T5" fmla="*/ 2147483646 h 4896"/>
                <a:gd name="T6" fmla="*/ 2147483646 w 3312"/>
                <a:gd name="T7" fmla="*/ 2147483646 h 4896"/>
                <a:gd name="T8" fmla="*/ 0 w 3312"/>
                <a:gd name="T9" fmla="*/ 2147483646 h 48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12" h="4896">
                  <a:moveTo>
                    <a:pt x="0" y="432"/>
                  </a:moveTo>
                  <a:lnTo>
                    <a:pt x="2304" y="0"/>
                  </a:lnTo>
                  <a:lnTo>
                    <a:pt x="3312" y="4320"/>
                  </a:lnTo>
                  <a:lnTo>
                    <a:pt x="1008" y="4896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chemeClr val="bg1">
                <a:alpha val="50195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57" name="Rectangle 171">
              <a:extLst>
                <a:ext uri="{FF2B5EF4-FFF2-40B4-BE49-F238E27FC236}">
                  <a16:creationId xmlns:a16="http://schemas.microsoft.com/office/drawing/2014/main" id="{8215598D-A639-F0DD-B08A-68959354ABD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820000">
              <a:off x="7162800" y="2835275"/>
              <a:ext cx="387350" cy="3016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58" name="Rectangle 172">
              <a:extLst>
                <a:ext uri="{FF2B5EF4-FFF2-40B4-BE49-F238E27FC236}">
                  <a16:creationId xmlns:a16="http://schemas.microsoft.com/office/drawing/2014/main" id="{E1D21370-61BA-8457-6C2F-A3FBDD1EE2F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820000">
              <a:off x="6924675" y="2925763"/>
              <a:ext cx="233363" cy="65246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59" name="Rectangle 173" descr="Light horizontal">
              <a:extLst>
                <a:ext uri="{FF2B5EF4-FFF2-40B4-BE49-F238E27FC236}">
                  <a16:creationId xmlns:a16="http://schemas.microsoft.com/office/drawing/2014/main" id="{28E0BB86-AC1A-2154-83A5-7C821DB19F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2300" y="3224213"/>
              <a:ext cx="155575" cy="301625"/>
            </a:xfrm>
            <a:prstGeom prst="rect">
              <a:avLst/>
            </a:prstGeom>
            <a:blipFill dpi="0" rotWithShape="0">
              <a:blip r:embed="rId4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60" name="Rectangle 180">
              <a:extLst>
                <a:ext uri="{FF2B5EF4-FFF2-40B4-BE49-F238E27FC236}">
                  <a16:creationId xmlns:a16="http://schemas.microsoft.com/office/drawing/2014/main" id="{E7BA1D91-F638-669C-C5B2-5C42CFCB0B8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820000">
              <a:off x="7659688" y="5148263"/>
              <a:ext cx="387350" cy="2508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62" name="Rectangle 188">
              <a:extLst>
                <a:ext uri="{FF2B5EF4-FFF2-40B4-BE49-F238E27FC236}">
                  <a16:creationId xmlns:a16="http://schemas.microsoft.com/office/drawing/2014/main" id="{39986EFF-918F-FF3E-0881-0F7335DA56E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102100" y="4865688"/>
              <a:ext cx="304800" cy="2730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63" name="Rectangle 189">
              <a:extLst>
                <a:ext uri="{FF2B5EF4-FFF2-40B4-BE49-F238E27FC236}">
                  <a16:creationId xmlns:a16="http://schemas.microsoft.com/office/drawing/2014/main" id="{D6E18191-342E-667D-FF8B-62B9AE4F5DE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800600" y="4865688"/>
              <a:ext cx="233363" cy="2730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grpSp>
          <p:nvGrpSpPr>
            <p:cNvPr id="4164" name="Group 190">
              <a:extLst>
                <a:ext uri="{FF2B5EF4-FFF2-40B4-BE49-F238E27FC236}">
                  <a16:creationId xmlns:a16="http://schemas.microsoft.com/office/drawing/2014/main" id="{7D3BBB27-EAB5-F618-AEB3-D329EB102D8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57675" y="4865688"/>
              <a:ext cx="155575" cy="273050"/>
              <a:chOff x="8245" y="4414"/>
              <a:chExt cx="361" cy="806"/>
            </a:xfrm>
          </p:grpSpPr>
          <p:sp>
            <p:nvSpPr>
              <p:cNvPr id="4192" name="Freeform 191">
                <a:extLst>
                  <a:ext uri="{FF2B5EF4-FFF2-40B4-BE49-F238E27FC236}">
                    <a16:creationId xmlns:a16="http://schemas.microsoft.com/office/drawing/2014/main" id="{DFE3A9CC-01A6-840E-54E2-D0FDD9627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5" y="4567"/>
                <a:ext cx="361" cy="653"/>
              </a:xfrm>
              <a:custGeom>
                <a:avLst/>
                <a:gdLst>
                  <a:gd name="T0" fmla="*/ 0 w 1083"/>
                  <a:gd name="T1" fmla="*/ 0 h 1959"/>
                  <a:gd name="T2" fmla="*/ 0 w 1083"/>
                  <a:gd name="T3" fmla="*/ 0 h 1959"/>
                  <a:gd name="T4" fmla="*/ 0 w 1083"/>
                  <a:gd name="T5" fmla="*/ 0 h 1959"/>
                  <a:gd name="T6" fmla="*/ 0 w 1083"/>
                  <a:gd name="T7" fmla="*/ 0 h 1959"/>
                  <a:gd name="T8" fmla="*/ 0 w 1083"/>
                  <a:gd name="T9" fmla="*/ 0 h 1959"/>
                  <a:gd name="T10" fmla="*/ 0 w 1083"/>
                  <a:gd name="T11" fmla="*/ 0 h 1959"/>
                  <a:gd name="T12" fmla="*/ 0 w 1083"/>
                  <a:gd name="T13" fmla="*/ 0 h 1959"/>
                  <a:gd name="T14" fmla="*/ 0 w 1083"/>
                  <a:gd name="T15" fmla="*/ 0 h 1959"/>
                  <a:gd name="T16" fmla="*/ 0 w 1083"/>
                  <a:gd name="T17" fmla="*/ 0 h 1959"/>
                  <a:gd name="T18" fmla="*/ 0 w 1083"/>
                  <a:gd name="T19" fmla="*/ 0 h 1959"/>
                  <a:gd name="T20" fmla="*/ 0 w 1083"/>
                  <a:gd name="T21" fmla="*/ 0 h 1959"/>
                  <a:gd name="T22" fmla="*/ 0 w 1083"/>
                  <a:gd name="T23" fmla="*/ 0 h 1959"/>
                  <a:gd name="T24" fmla="*/ 0 w 1083"/>
                  <a:gd name="T25" fmla="*/ 0 h 1959"/>
                  <a:gd name="T26" fmla="*/ 0 w 1083"/>
                  <a:gd name="T27" fmla="*/ 0 h 1959"/>
                  <a:gd name="T28" fmla="*/ 0 w 1083"/>
                  <a:gd name="T29" fmla="*/ 1 h 1959"/>
                  <a:gd name="T30" fmla="*/ 0 w 1083"/>
                  <a:gd name="T31" fmla="*/ 1 h 1959"/>
                  <a:gd name="T32" fmla="*/ 0 w 1083"/>
                  <a:gd name="T33" fmla="*/ 1 h 1959"/>
                  <a:gd name="T34" fmla="*/ 0 w 1083"/>
                  <a:gd name="T35" fmla="*/ 1 h 1959"/>
                  <a:gd name="T36" fmla="*/ 0 w 1083"/>
                  <a:gd name="T37" fmla="*/ 1 h 1959"/>
                  <a:gd name="T38" fmla="*/ 0 w 1083"/>
                  <a:gd name="T39" fmla="*/ 1 h 1959"/>
                  <a:gd name="T40" fmla="*/ 0 w 1083"/>
                  <a:gd name="T41" fmla="*/ 1 h 1959"/>
                  <a:gd name="T42" fmla="*/ 0 w 1083"/>
                  <a:gd name="T43" fmla="*/ 1 h 1959"/>
                  <a:gd name="T44" fmla="*/ 0 w 1083"/>
                  <a:gd name="T45" fmla="*/ 1 h 1959"/>
                  <a:gd name="T46" fmla="*/ 0 w 1083"/>
                  <a:gd name="T47" fmla="*/ 1 h 1959"/>
                  <a:gd name="T48" fmla="*/ 0 w 1083"/>
                  <a:gd name="T49" fmla="*/ 1 h 1959"/>
                  <a:gd name="T50" fmla="*/ 0 w 1083"/>
                  <a:gd name="T51" fmla="*/ 1 h 1959"/>
                  <a:gd name="T52" fmla="*/ 0 w 1083"/>
                  <a:gd name="T53" fmla="*/ 1 h 1959"/>
                  <a:gd name="T54" fmla="*/ 0 w 1083"/>
                  <a:gd name="T55" fmla="*/ 1 h 1959"/>
                  <a:gd name="T56" fmla="*/ 0 w 1083"/>
                  <a:gd name="T57" fmla="*/ 1 h 1959"/>
                  <a:gd name="T58" fmla="*/ 0 w 1083"/>
                  <a:gd name="T59" fmla="*/ 1 h 1959"/>
                  <a:gd name="T60" fmla="*/ 0 w 1083"/>
                  <a:gd name="T61" fmla="*/ 1 h 1959"/>
                  <a:gd name="T62" fmla="*/ 0 w 1083"/>
                  <a:gd name="T63" fmla="*/ 1 h 1959"/>
                  <a:gd name="T64" fmla="*/ 0 w 1083"/>
                  <a:gd name="T65" fmla="*/ 1 h 1959"/>
                  <a:gd name="T66" fmla="*/ 0 w 1083"/>
                  <a:gd name="T67" fmla="*/ 1 h 1959"/>
                  <a:gd name="T68" fmla="*/ 0 w 1083"/>
                  <a:gd name="T69" fmla="*/ 0 h 1959"/>
                  <a:gd name="T70" fmla="*/ 0 w 1083"/>
                  <a:gd name="T71" fmla="*/ 0 h 1959"/>
                  <a:gd name="T72" fmla="*/ 0 w 1083"/>
                  <a:gd name="T73" fmla="*/ 0 h 1959"/>
                  <a:gd name="T74" fmla="*/ 0 w 1083"/>
                  <a:gd name="T75" fmla="*/ 0 h 1959"/>
                  <a:gd name="T76" fmla="*/ 0 w 1083"/>
                  <a:gd name="T77" fmla="*/ 0 h 1959"/>
                  <a:gd name="T78" fmla="*/ 0 w 1083"/>
                  <a:gd name="T79" fmla="*/ 0 h 1959"/>
                  <a:gd name="T80" fmla="*/ 0 w 1083"/>
                  <a:gd name="T81" fmla="*/ 0 h 1959"/>
                  <a:gd name="T82" fmla="*/ 0 w 1083"/>
                  <a:gd name="T83" fmla="*/ 0 h 1959"/>
                  <a:gd name="T84" fmla="*/ 0 w 1083"/>
                  <a:gd name="T85" fmla="*/ 0 h 1959"/>
                  <a:gd name="T86" fmla="*/ 0 w 1083"/>
                  <a:gd name="T87" fmla="*/ 0 h 1959"/>
                  <a:gd name="T88" fmla="*/ 0 w 1083"/>
                  <a:gd name="T89" fmla="*/ 0 h 1959"/>
                  <a:gd name="T90" fmla="*/ 0 w 1083"/>
                  <a:gd name="T91" fmla="*/ 0 h 1959"/>
                  <a:gd name="T92" fmla="*/ 0 w 1083"/>
                  <a:gd name="T93" fmla="*/ 0 h 1959"/>
                  <a:gd name="T94" fmla="*/ 0 w 1083"/>
                  <a:gd name="T95" fmla="*/ 0 h 195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083" h="1959">
                    <a:moveTo>
                      <a:pt x="295" y="0"/>
                    </a:moveTo>
                    <a:lnTo>
                      <a:pt x="794" y="0"/>
                    </a:lnTo>
                    <a:lnTo>
                      <a:pt x="805" y="3"/>
                    </a:lnTo>
                    <a:lnTo>
                      <a:pt x="816" y="4"/>
                    </a:lnTo>
                    <a:lnTo>
                      <a:pt x="828" y="8"/>
                    </a:lnTo>
                    <a:lnTo>
                      <a:pt x="840" y="13"/>
                    </a:lnTo>
                    <a:lnTo>
                      <a:pt x="853" y="21"/>
                    </a:lnTo>
                    <a:lnTo>
                      <a:pt x="862" y="28"/>
                    </a:lnTo>
                    <a:lnTo>
                      <a:pt x="874" y="35"/>
                    </a:lnTo>
                    <a:lnTo>
                      <a:pt x="883" y="47"/>
                    </a:lnTo>
                    <a:lnTo>
                      <a:pt x="891" y="55"/>
                    </a:lnTo>
                    <a:lnTo>
                      <a:pt x="900" y="65"/>
                    </a:lnTo>
                    <a:lnTo>
                      <a:pt x="905" y="75"/>
                    </a:lnTo>
                    <a:lnTo>
                      <a:pt x="911" y="86"/>
                    </a:lnTo>
                    <a:lnTo>
                      <a:pt x="917" y="99"/>
                    </a:lnTo>
                    <a:lnTo>
                      <a:pt x="921" y="106"/>
                    </a:lnTo>
                    <a:lnTo>
                      <a:pt x="924" y="120"/>
                    </a:lnTo>
                    <a:lnTo>
                      <a:pt x="930" y="140"/>
                    </a:lnTo>
                    <a:lnTo>
                      <a:pt x="931" y="154"/>
                    </a:lnTo>
                    <a:lnTo>
                      <a:pt x="934" y="173"/>
                    </a:lnTo>
                    <a:lnTo>
                      <a:pt x="1080" y="738"/>
                    </a:lnTo>
                    <a:lnTo>
                      <a:pt x="1083" y="751"/>
                    </a:lnTo>
                    <a:lnTo>
                      <a:pt x="1083" y="764"/>
                    </a:lnTo>
                    <a:lnTo>
                      <a:pt x="1081" y="778"/>
                    </a:lnTo>
                    <a:lnTo>
                      <a:pt x="1078" y="788"/>
                    </a:lnTo>
                    <a:lnTo>
                      <a:pt x="1074" y="799"/>
                    </a:lnTo>
                    <a:lnTo>
                      <a:pt x="1064" y="810"/>
                    </a:lnTo>
                    <a:lnTo>
                      <a:pt x="1056" y="822"/>
                    </a:lnTo>
                    <a:lnTo>
                      <a:pt x="1044" y="827"/>
                    </a:lnTo>
                    <a:lnTo>
                      <a:pt x="1034" y="833"/>
                    </a:lnTo>
                    <a:lnTo>
                      <a:pt x="1023" y="839"/>
                    </a:lnTo>
                    <a:lnTo>
                      <a:pt x="1012" y="839"/>
                    </a:lnTo>
                    <a:lnTo>
                      <a:pt x="1000" y="839"/>
                    </a:lnTo>
                    <a:lnTo>
                      <a:pt x="989" y="839"/>
                    </a:lnTo>
                    <a:lnTo>
                      <a:pt x="978" y="837"/>
                    </a:lnTo>
                    <a:lnTo>
                      <a:pt x="969" y="832"/>
                    </a:lnTo>
                    <a:lnTo>
                      <a:pt x="959" y="826"/>
                    </a:lnTo>
                    <a:lnTo>
                      <a:pt x="949" y="819"/>
                    </a:lnTo>
                    <a:lnTo>
                      <a:pt x="942" y="812"/>
                    </a:lnTo>
                    <a:lnTo>
                      <a:pt x="934" y="800"/>
                    </a:lnTo>
                    <a:lnTo>
                      <a:pt x="930" y="788"/>
                    </a:lnTo>
                    <a:lnTo>
                      <a:pt x="925" y="779"/>
                    </a:lnTo>
                    <a:lnTo>
                      <a:pt x="785" y="278"/>
                    </a:lnTo>
                    <a:lnTo>
                      <a:pt x="737" y="278"/>
                    </a:lnTo>
                    <a:lnTo>
                      <a:pt x="976" y="1211"/>
                    </a:lnTo>
                    <a:lnTo>
                      <a:pt x="784" y="1211"/>
                    </a:lnTo>
                    <a:lnTo>
                      <a:pt x="786" y="1870"/>
                    </a:lnTo>
                    <a:lnTo>
                      <a:pt x="784" y="1884"/>
                    </a:lnTo>
                    <a:lnTo>
                      <a:pt x="781" y="1894"/>
                    </a:lnTo>
                    <a:lnTo>
                      <a:pt x="774" y="1907"/>
                    </a:lnTo>
                    <a:lnTo>
                      <a:pt x="768" y="1918"/>
                    </a:lnTo>
                    <a:lnTo>
                      <a:pt x="760" y="1928"/>
                    </a:lnTo>
                    <a:lnTo>
                      <a:pt x="752" y="1937"/>
                    </a:lnTo>
                    <a:lnTo>
                      <a:pt x="741" y="1945"/>
                    </a:lnTo>
                    <a:lnTo>
                      <a:pt x="730" y="1949"/>
                    </a:lnTo>
                    <a:lnTo>
                      <a:pt x="718" y="1955"/>
                    </a:lnTo>
                    <a:lnTo>
                      <a:pt x="709" y="1958"/>
                    </a:lnTo>
                    <a:lnTo>
                      <a:pt x="697" y="1959"/>
                    </a:lnTo>
                    <a:lnTo>
                      <a:pt x="686" y="1959"/>
                    </a:lnTo>
                    <a:lnTo>
                      <a:pt x="673" y="1959"/>
                    </a:lnTo>
                    <a:lnTo>
                      <a:pt x="663" y="1957"/>
                    </a:lnTo>
                    <a:lnTo>
                      <a:pt x="650" y="1951"/>
                    </a:lnTo>
                    <a:lnTo>
                      <a:pt x="641" y="1947"/>
                    </a:lnTo>
                    <a:lnTo>
                      <a:pt x="631" y="1942"/>
                    </a:lnTo>
                    <a:lnTo>
                      <a:pt x="624" y="1932"/>
                    </a:lnTo>
                    <a:lnTo>
                      <a:pt x="615" y="1925"/>
                    </a:lnTo>
                    <a:lnTo>
                      <a:pt x="608" y="1918"/>
                    </a:lnTo>
                    <a:lnTo>
                      <a:pt x="602" y="1907"/>
                    </a:lnTo>
                    <a:lnTo>
                      <a:pt x="598" y="1898"/>
                    </a:lnTo>
                    <a:lnTo>
                      <a:pt x="595" y="1890"/>
                    </a:lnTo>
                    <a:lnTo>
                      <a:pt x="592" y="1877"/>
                    </a:lnTo>
                    <a:lnTo>
                      <a:pt x="590" y="1870"/>
                    </a:lnTo>
                    <a:lnTo>
                      <a:pt x="592" y="1217"/>
                    </a:lnTo>
                    <a:lnTo>
                      <a:pt x="495" y="1217"/>
                    </a:lnTo>
                    <a:lnTo>
                      <a:pt x="495" y="1870"/>
                    </a:lnTo>
                    <a:lnTo>
                      <a:pt x="493" y="1879"/>
                    </a:lnTo>
                    <a:lnTo>
                      <a:pt x="492" y="1890"/>
                    </a:lnTo>
                    <a:lnTo>
                      <a:pt x="488" y="1898"/>
                    </a:lnTo>
                    <a:lnTo>
                      <a:pt x="483" y="1908"/>
                    </a:lnTo>
                    <a:lnTo>
                      <a:pt x="476" y="1918"/>
                    </a:lnTo>
                    <a:lnTo>
                      <a:pt x="469" y="1930"/>
                    </a:lnTo>
                    <a:lnTo>
                      <a:pt x="462" y="1937"/>
                    </a:lnTo>
                    <a:lnTo>
                      <a:pt x="451" y="1944"/>
                    </a:lnTo>
                    <a:lnTo>
                      <a:pt x="441" y="1949"/>
                    </a:lnTo>
                    <a:lnTo>
                      <a:pt x="429" y="1955"/>
                    </a:lnTo>
                    <a:lnTo>
                      <a:pt x="418" y="1958"/>
                    </a:lnTo>
                    <a:lnTo>
                      <a:pt x="408" y="1959"/>
                    </a:lnTo>
                    <a:lnTo>
                      <a:pt x="397" y="1959"/>
                    </a:lnTo>
                    <a:lnTo>
                      <a:pt x="386" y="1959"/>
                    </a:lnTo>
                    <a:lnTo>
                      <a:pt x="374" y="1957"/>
                    </a:lnTo>
                    <a:lnTo>
                      <a:pt x="363" y="1952"/>
                    </a:lnTo>
                    <a:lnTo>
                      <a:pt x="352" y="1948"/>
                    </a:lnTo>
                    <a:lnTo>
                      <a:pt x="342" y="1942"/>
                    </a:lnTo>
                    <a:lnTo>
                      <a:pt x="335" y="1937"/>
                    </a:lnTo>
                    <a:lnTo>
                      <a:pt x="326" y="1930"/>
                    </a:lnTo>
                    <a:lnTo>
                      <a:pt x="322" y="1921"/>
                    </a:lnTo>
                    <a:lnTo>
                      <a:pt x="313" y="1913"/>
                    </a:lnTo>
                    <a:lnTo>
                      <a:pt x="309" y="1901"/>
                    </a:lnTo>
                    <a:lnTo>
                      <a:pt x="303" y="1890"/>
                    </a:lnTo>
                    <a:lnTo>
                      <a:pt x="303" y="1879"/>
                    </a:lnTo>
                    <a:lnTo>
                      <a:pt x="302" y="1870"/>
                    </a:lnTo>
                    <a:lnTo>
                      <a:pt x="302" y="1217"/>
                    </a:lnTo>
                    <a:lnTo>
                      <a:pt x="108" y="1217"/>
                    </a:lnTo>
                    <a:lnTo>
                      <a:pt x="350" y="276"/>
                    </a:lnTo>
                    <a:lnTo>
                      <a:pt x="302" y="276"/>
                    </a:lnTo>
                    <a:lnTo>
                      <a:pt x="160" y="786"/>
                    </a:lnTo>
                    <a:lnTo>
                      <a:pt x="153" y="802"/>
                    </a:lnTo>
                    <a:lnTo>
                      <a:pt x="148" y="815"/>
                    </a:lnTo>
                    <a:lnTo>
                      <a:pt x="140" y="826"/>
                    </a:lnTo>
                    <a:lnTo>
                      <a:pt x="133" y="837"/>
                    </a:lnTo>
                    <a:lnTo>
                      <a:pt x="122" y="843"/>
                    </a:lnTo>
                    <a:lnTo>
                      <a:pt x="115" y="847"/>
                    </a:lnTo>
                    <a:lnTo>
                      <a:pt x="101" y="851"/>
                    </a:lnTo>
                    <a:lnTo>
                      <a:pt x="88" y="854"/>
                    </a:lnTo>
                    <a:lnTo>
                      <a:pt x="72" y="853"/>
                    </a:lnTo>
                    <a:lnTo>
                      <a:pt x="63" y="851"/>
                    </a:lnTo>
                    <a:lnTo>
                      <a:pt x="53" y="851"/>
                    </a:lnTo>
                    <a:lnTo>
                      <a:pt x="41" y="844"/>
                    </a:lnTo>
                    <a:lnTo>
                      <a:pt x="31" y="839"/>
                    </a:lnTo>
                    <a:lnTo>
                      <a:pt x="21" y="830"/>
                    </a:lnTo>
                    <a:lnTo>
                      <a:pt x="14" y="823"/>
                    </a:lnTo>
                    <a:lnTo>
                      <a:pt x="9" y="812"/>
                    </a:lnTo>
                    <a:lnTo>
                      <a:pt x="4" y="802"/>
                    </a:lnTo>
                    <a:lnTo>
                      <a:pt x="2" y="793"/>
                    </a:lnTo>
                    <a:lnTo>
                      <a:pt x="0" y="782"/>
                    </a:lnTo>
                    <a:lnTo>
                      <a:pt x="0" y="769"/>
                    </a:lnTo>
                    <a:lnTo>
                      <a:pt x="0" y="762"/>
                    </a:lnTo>
                    <a:lnTo>
                      <a:pt x="3" y="754"/>
                    </a:lnTo>
                    <a:lnTo>
                      <a:pt x="153" y="164"/>
                    </a:lnTo>
                    <a:lnTo>
                      <a:pt x="155" y="149"/>
                    </a:lnTo>
                    <a:lnTo>
                      <a:pt x="159" y="136"/>
                    </a:lnTo>
                    <a:lnTo>
                      <a:pt x="160" y="127"/>
                    </a:lnTo>
                    <a:lnTo>
                      <a:pt x="163" y="116"/>
                    </a:lnTo>
                    <a:lnTo>
                      <a:pt x="167" y="103"/>
                    </a:lnTo>
                    <a:lnTo>
                      <a:pt x="170" y="92"/>
                    </a:lnTo>
                    <a:lnTo>
                      <a:pt x="179" y="78"/>
                    </a:lnTo>
                    <a:lnTo>
                      <a:pt x="186" y="67"/>
                    </a:lnTo>
                    <a:lnTo>
                      <a:pt x="193" y="57"/>
                    </a:lnTo>
                    <a:lnTo>
                      <a:pt x="203" y="47"/>
                    </a:lnTo>
                    <a:lnTo>
                      <a:pt x="213" y="35"/>
                    </a:lnTo>
                    <a:lnTo>
                      <a:pt x="223" y="30"/>
                    </a:lnTo>
                    <a:lnTo>
                      <a:pt x="233" y="21"/>
                    </a:lnTo>
                    <a:lnTo>
                      <a:pt x="247" y="13"/>
                    </a:lnTo>
                    <a:lnTo>
                      <a:pt x="259" y="8"/>
                    </a:lnTo>
                    <a:lnTo>
                      <a:pt x="275" y="3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93" name="Oval 192">
                <a:extLst>
                  <a:ext uri="{FF2B5EF4-FFF2-40B4-BE49-F238E27FC236}">
                    <a16:creationId xmlns:a16="http://schemas.microsoft.com/office/drawing/2014/main" id="{5A623313-7876-678E-DB2A-D1EFAC3697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61" y="4414"/>
                <a:ext cx="124" cy="12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grpSp>
          <p:nvGrpSpPr>
            <p:cNvPr id="4165" name="Group 193">
              <a:extLst>
                <a:ext uri="{FF2B5EF4-FFF2-40B4-BE49-F238E27FC236}">
                  <a16:creationId xmlns:a16="http://schemas.microsoft.com/office/drawing/2014/main" id="{61BFAD0D-39EA-D9F1-EA4A-D4A0F9FA996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41875" y="4865688"/>
              <a:ext cx="103188" cy="273050"/>
              <a:chOff x="1882" y="550"/>
              <a:chExt cx="1592" cy="4268"/>
            </a:xfrm>
          </p:grpSpPr>
          <p:sp>
            <p:nvSpPr>
              <p:cNvPr id="4190" name="Freeform 194">
                <a:extLst>
                  <a:ext uri="{FF2B5EF4-FFF2-40B4-BE49-F238E27FC236}">
                    <a16:creationId xmlns:a16="http://schemas.microsoft.com/office/drawing/2014/main" id="{CD9E1F8B-EF0B-26C1-BCCC-8C49A733718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2" y="1363"/>
                <a:ext cx="1592" cy="3455"/>
              </a:xfrm>
              <a:custGeom>
                <a:avLst/>
                <a:gdLst>
                  <a:gd name="T0" fmla="*/ 1242 w 1592"/>
                  <a:gd name="T1" fmla="*/ 2 h 3455"/>
                  <a:gd name="T2" fmla="*/ 1307 w 1592"/>
                  <a:gd name="T3" fmla="*/ 12 h 3455"/>
                  <a:gd name="T4" fmla="*/ 1372 w 1592"/>
                  <a:gd name="T5" fmla="*/ 30 h 3455"/>
                  <a:gd name="T6" fmla="*/ 1427 w 1592"/>
                  <a:gd name="T7" fmla="*/ 57 h 3455"/>
                  <a:gd name="T8" fmla="*/ 1497 w 1592"/>
                  <a:gd name="T9" fmla="*/ 105 h 3455"/>
                  <a:gd name="T10" fmla="*/ 1552 w 1592"/>
                  <a:gd name="T11" fmla="*/ 165 h 3455"/>
                  <a:gd name="T12" fmla="*/ 1590 w 1592"/>
                  <a:gd name="T13" fmla="*/ 242 h 3455"/>
                  <a:gd name="T14" fmla="*/ 1590 w 1592"/>
                  <a:gd name="T15" fmla="*/ 1572 h 3455"/>
                  <a:gd name="T16" fmla="*/ 1575 w 1592"/>
                  <a:gd name="T17" fmla="*/ 1617 h 3455"/>
                  <a:gd name="T18" fmla="*/ 1542 w 1592"/>
                  <a:gd name="T19" fmla="*/ 1662 h 3455"/>
                  <a:gd name="T20" fmla="*/ 1487 w 1592"/>
                  <a:gd name="T21" fmla="*/ 1692 h 3455"/>
                  <a:gd name="T22" fmla="*/ 1427 w 1592"/>
                  <a:gd name="T23" fmla="*/ 1695 h 3455"/>
                  <a:gd name="T24" fmla="*/ 1375 w 1592"/>
                  <a:gd name="T25" fmla="*/ 1680 h 3455"/>
                  <a:gd name="T26" fmla="*/ 1337 w 1592"/>
                  <a:gd name="T27" fmla="*/ 1642 h 3455"/>
                  <a:gd name="T28" fmla="*/ 1320 w 1592"/>
                  <a:gd name="T29" fmla="*/ 1607 h 3455"/>
                  <a:gd name="T30" fmla="*/ 1307 w 1592"/>
                  <a:gd name="T31" fmla="*/ 1567 h 3455"/>
                  <a:gd name="T32" fmla="*/ 1217 w 1592"/>
                  <a:gd name="T33" fmla="*/ 3262 h 3455"/>
                  <a:gd name="T34" fmla="*/ 1200 w 1592"/>
                  <a:gd name="T35" fmla="*/ 3345 h 3455"/>
                  <a:gd name="T36" fmla="*/ 1152 w 1592"/>
                  <a:gd name="T37" fmla="*/ 3412 h 3455"/>
                  <a:gd name="T38" fmla="*/ 1090 w 1592"/>
                  <a:gd name="T39" fmla="*/ 3445 h 3455"/>
                  <a:gd name="T40" fmla="*/ 1035 w 1592"/>
                  <a:gd name="T41" fmla="*/ 3455 h 3455"/>
                  <a:gd name="T42" fmla="*/ 962 w 1592"/>
                  <a:gd name="T43" fmla="*/ 3445 h 3455"/>
                  <a:gd name="T44" fmla="*/ 905 w 1592"/>
                  <a:gd name="T45" fmla="*/ 3407 h 3455"/>
                  <a:gd name="T46" fmla="*/ 862 w 1592"/>
                  <a:gd name="T47" fmla="*/ 3355 h 3455"/>
                  <a:gd name="T48" fmla="*/ 842 w 1592"/>
                  <a:gd name="T49" fmla="*/ 3305 h 3455"/>
                  <a:gd name="T50" fmla="*/ 748 w 1592"/>
                  <a:gd name="T51" fmla="*/ 1655 h 3455"/>
                  <a:gd name="T52" fmla="*/ 738 w 1592"/>
                  <a:gd name="T53" fmla="*/ 3320 h 3455"/>
                  <a:gd name="T54" fmla="*/ 698 w 1592"/>
                  <a:gd name="T55" fmla="*/ 3395 h 3455"/>
                  <a:gd name="T56" fmla="*/ 630 w 1592"/>
                  <a:gd name="T57" fmla="*/ 3442 h 3455"/>
                  <a:gd name="T58" fmla="*/ 545 w 1592"/>
                  <a:gd name="T59" fmla="*/ 3455 h 3455"/>
                  <a:gd name="T60" fmla="*/ 483 w 1592"/>
                  <a:gd name="T61" fmla="*/ 3440 h 3455"/>
                  <a:gd name="T62" fmla="*/ 423 w 1592"/>
                  <a:gd name="T63" fmla="*/ 3397 h 3455"/>
                  <a:gd name="T64" fmla="*/ 385 w 1592"/>
                  <a:gd name="T65" fmla="*/ 3345 h 3455"/>
                  <a:gd name="T66" fmla="*/ 370 w 1592"/>
                  <a:gd name="T67" fmla="*/ 3277 h 3455"/>
                  <a:gd name="T68" fmla="*/ 280 w 1592"/>
                  <a:gd name="T69" fmla="*/ 1567 h 3455"/>
                  <a:gd name="T70" fmla="*/ 263 w 1592"/>
                  <a:gd name="T71" fmla="*/ 1620 h 3455"/>
                  <a:gd name="T72" fmla="*/ 240 w 1592"/>
                  <a:gd name="T73" fmla="*/ 1652 h 3455"/>
                  <a:gd name="T74" fmla="*/ 208 w 1592"/>
                  <a:gd name="T75" fmla="*/ 1682 h 3455"/>
                  <a:gd name="T76" fmla="*/ 170 w 1592"/>
                  <a:gd name="T77" fmla="*/ 1695 h 3455"/>
                  <a:gd name="T78" fmla="*/ 123 w 1592"/>
                  <a:gd name="T79" fmla="*/ 1695 h 3455"/>
                  <a:gd name="T80" fmla="*/ 83 w 1592"/>
                  <a:gd name="T81" fmla="*/ 1687 h 3455"/>
                  <a:gd name="T82" fmla="*/ 50 w 1592"/>
                  <a:gd name="T83" fmla="*/ 1667 h 3455"/>
                  <a:gd name="T84" fmla="*/ 23 w 1592"/>
                  <a:gd name="T85" fmla="*/ 1637 h 3455"/>
                  <a:gd name="T86" fmla="*/ 5 w 1592"/>
                  <a:gd name="T87" fmla="*/ 1600 h 3455"/>
                  <a:gd name="T88" fmla="*/ 0 w 1592"/>
                  <a:gd name="T89" fmla="*/ 282 h 3455"/>
                  <a:gd name="T90" fmla="*/ 33 w 1592"/>
                  <a:gd name="T91" fmla="*/ 172 h 3455"/>
                  <a:gd name="T92" fmla="*/ 93 w 1592"/>
                  <a:gd name="T93" fmla="*/ 105 h 3455"/>
                  <a:gd name="T94" fmla="*/ 195 w 1592"/>
                  <a:gd name="T95" fmla="*/ 42 h 3455"/>
                  <a:gd name="T96" fmla="*/ 303 w 1592"/>
                  <a:gd name="T97" fmla="*/ 10 h 345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592" h="3455">
                    <a:moveTo>
                      <a:pt x="380" y="0"/>
                    </a:moveTo>
                    <a:lnTo>
                      <a:pt x="1220" y="2"/>
                    </a:lnTo>
                    <a:lnTo>
                      <a:pt x="1242" y="2"/>
                    </a:lnTo>
                    <a:lnTo>
                      <a:pt x="1265" y="5"/>
                    </a:lnTo>
                    <a:lnTo>
                      <a:pt x="1287" y="7"/>
                    </a:lnTo>
                    <a:lnTo>
                      <a:pt x="1307" y="12"/>
                    </a:lnTo>
                    <a:lnTo>
                      <a:pt x="1327" y="17"/>
                    </a:lnTo>
                    <a:lnTo>
                      <a:pt x="1350" y="22"/>
                    </a:lnTo>
                    <a:lnTo>
                      <a:pt x="1372" y="30"/>
                    </a:lnTo>
                    <a:lnTo>
                      <a:pt x="1392" y="37"/>
                    </a:lnTo>
                    <a:lnTo>
                      <a:pt x="1410" y="47"/>
                    </a:lnTo>
                    <a:lnTo>
                      <a:pt x="1427" y="57"/>
                    </a:lnTo>
                    <a:lnTo>
                      <a:pt x="1452" y="72"/>
                    </a:lnTo>
                    <a:lnTo>
                      <a:pt x="1472" y="85"/>
                    </a:lnTo>
                    <a:lnTo>
                      <a:pt x="1497" y="105"/>
                    </a:lnTo>
                    <a:lnTo>
                      <a:pt x="1520" y="125"/>
                    </a:lnTo>
                    <a:lnTo>
                      <a:pt x="1537" y="145"/>
                    </a:lnTo>
                    <a:lnTo>
                      <a:pt x="1552" y="165"/>
                    </a:lnTo>
                    <a:lnTo>
                      <a:pt x="1570" y="192"/>
                    </a:lnTo>
                    <a:lnTo>
                      <a:pt x="1577" y="212"/>
                    </a:lnTo>
                    <a:lnTo>
                      <a:pt x="1590" y="242"/>
                    </a:lnTo>
                    <a:lnTo>
                      <a:pt x="1592" y="267"/>
                    </a:lnTo>
                    <a:lnTo>
                      <a:pt x="1592" y="290"/>
                    </a:lnTo>
                    <a:lnTo>
                      <a:pt x="1590" y="1572"/>
                    </a:lnTo>
                    <a:lnTo>
                      <a:pt x="1587" y="1587"/>
                    </a:lnTo>
                    <a:lnTo>
                      <a:pt x="1580" y="1600"/>
                    </a:lnTo>
                    <a:lnTo>
                      <a:pt x="1575" y="1617"/>
                    </a:lnTo>
                    <a:lnTo>
                      <a:pt x="1570" y="1630"/>
                    </a:lnTo>
                    <a:lnTo>
                      <a:pt x="1555" y="1645"/>
                    </a:lnTo>
                    <a:lnTo>
                      <a:pt x="1542" y="1662"/>
                    </a:lnTo>
                    <a:lnTo>
                      <a:pt x="1525" y="1675"/>
                    </a:lnTo>
                    <a:lnTo>
                      <a:pt x="1502" y="1687"/>
                    </a:lnTo>
                    <a:lnTo>
                      <a:pt x="1487" y="1692"/>
                    </a:lnTo>
                    <a:lnTo>
                      <a:pt x="1467" y="1695"/>
                    </a:lnTo>
                    <a:lnTo>
                      <a:pt x="1447" y="1695"/>
                    </a:lnTo>
                    <a:lnTo>
                      <a:pt x="1427" y="1695"/>
                    </a:lnTo>
                    <a:lnTo>
                      <a:pt x="1407" y="1692"/>
                    </a:lnTo>
                    <a:lnTo>
                      <a:pt x="1390" y="1685"/>
                    </a:lnTo>
                    <a:lnTo>
                      <a:pt x="1375" y="1680"/>
                    </a:lnTo>
                    <a:lnTo>
                      <a:pt x="1362" y="1667"/>
                    </a:lnTo>
                    <a:lnTo>
                      <a:pt x="1350" y="1657"/>
                    </a:lnTo>
                    <a:lnTo>
                      <a:pt x="1337" y="1642"/>
                    </a:lnTo>
                    <a:lnTo>
                      <a:pt x="1330" y="1630"/>
                    </a:lnTo>
                    <a:lnTo>
                      <a:pt x="1320" y="1620"/>
                    </a:lnTo>
                    <a:lnTo>
                      <a:pt x="1320" y="1607"/>
                    </a:lnTo>
                    <a:lnTo>
                      <a:pt x="1315" y="1595"/>
                    </a:lnTo>
                    <a:lnTo>
                      <a:pt x="1310" y="1585"/>
                    </a:lnTo>
                    <a:lnTo>
                      <a:pt x="1307" y="1567"/>
                    </a:lnTo>
                    <a:lnTo>
                      <a:pt x="1310" y="585"/>
                    </a:lnTo>
                    <a:lnTo>
                      <a:pt x="1217" y="585"/>
                    </a:lnTo>
                    <a:lnTo>
                      <a:pt x="1217" y="3262"/>
                    </a:lnTo>
                    <a:lnTo>
                      <a:pt x="1217" y="3287"/>
                    </a:lnTo>
                    <a:lnTo>
                      <a:pt x="1210" y="3317"/>
                    </a:lnTo>
                    <a:lnTo>
                      <a:pt x="1200" y="3345"/>
                    </a:lnTo>
                    <a:lnTo>
                      <a:pt x="1187" y="3372"/>
                    </a:lnTo>
                    <a:lnTo>
                      <a:pt x="1167" y="3392"/>
                    </a:lnTo>
                    <a:lnTo>
                      <a:pt x="1152" y="3412"/>
                    </a:lnTo>
                    <a:lnTo>
                      <a:pt x="1135" y="3422"/>
                    </a:lnTo>
                    <a:lnTo>
                      <a:pt x="1112" y="3440"/>
                    </a:lnTo>
                    <a:lnTo>
                      <a:pt x="1090" y="3445"/>
                    </a:lnTo>
                    <a:lnTo>
                      <a:pt x="1070" y="3450"/>
                    </a:lnTo>
                    <a:lnTo>
                      <a:pt x="1052" y="3452"/>
                    </a:lnTo>
                    <a:lnTo>
                      <a:pt x="1035" y="3455"/>
                    </a:lnTo>
                    <a:lnTo>
                      <a:pt x="1015" y="3455"/>
                    </a:lnTo>
                    <a:lnTo>
                      <a:pt x="990" y="3452"/>
                    </a:lnTo>
                    <a:lnTo>
                      <a:pt x="962" y="3445"/>
                    </a:lnTo>
                    <a:lnTo>
                      <a:pt x="940" y="3432"/>
                    </a:lnTo>
                    <a:lnTo>
                      <a:pt x="920" y="3422"/>
                    </a:lnTo>
                    <a:lnTo>
                      <a:pt x="905" y="3407"/>
                    </a:lnTo>
                    <a:lnTo>
                      <a:pt x="890" y="3397"/>
                    </a:lnTo>
                    <a:lnTo>
                      <a:pt x="875" y="3375"/>
                    </a:lnTo>
                    <a:lnTo>
                      <a:pt x="862" y="3355"/>
                    </a:lnTo>
                    <a:lnTo>
                      <a:pt x="855" y="3342"/>
                    </a:lnTo>
                    <a:lnTo>
                      <a:pt x="850" y="3322"/>
                    </a:lnTo>
                    <a:lnTo>
                      <a:pt x="842" y="3305"/>
                    </a:lnTo>
                    <a:lnTo>
                      <a:pt x="840" y="3285"/>
                    </a:lnTo>
                    <a:lnTo>
                      <a:pt x="840" y="1655"/>
                    </a:lnTo>
                    <a:lnTo>
                      <a:pt x="748" y="1655"/>
                    </a:lnTo>
                    <a:lnTo>
                      <a:pt x="745" y="3275"/>
                    </a:lnTo>
                    <a:lnTo>
                      <a:pt x="743" y="3300"/>
                    </a:lnTo>
                    <a:lnTo>
                      <a:pt x="738" y="3320"/>
                    </a:lnTo>
                    <a:lnTo>
                      <a:pt x="725" y="3347"/>
                    </a:lnTo>
                    <a:lnTo>
                      <a:pt x="715" y="3370"/>
                    </a:lnTo>
                    <a:lnTo>
                      <a:pt x="698" y="3395"/>
                    </a:lnTo>
                    <a:lnTo>
                      <a:pt x="678" y="3415"/>
                    </a:lnTo>
                    <a:lnTo>
                      <a:pt x="655" y="3430"/>
                    </a:lnTo>
                    <a:lnTo>
                      <a:pt x="630" y="3442"/>
                    </a:lnTo>
                    <a:lnTo>
                      <a:pt x="600" y="3452"/>
                    </a:lnTo>
                    <a:lnTo>
                      <a:pt x="573" y="3455"/>
                    </a:lnTo>
                    <a:lnTo>
                      <a:pt x="545" y="3455"/>
                    </a:lnTo>
                    <a:lnTo>
                      <a:pt x="523" y="3452"/>
                    </a:lnTo>
                    <a:lnTo>
                      <a:pt x="503" y="3447"/>
                    </a:lnTo>
                    <a:lnTo>
                      <a:pt x="483" y="3440"/>
                    </a:lnTo>
                    <a:lnTo>
                      <a:pt x="463" y="3430"/>
                    </a:lnTo>
                    <a:lnTo>
                      <a:pt x="443" y="3417"/>
                    </a:lnTo>
                    <a:lnTo>
                      <a:pt x="423" y="3397"/>
                    </a:lnTo>
                    <a:lnTo>
                      <a:pt x="413" y="3382"/>
                    </a:lnTo>
                    <a:lnTo>
                      <a:pt x="398" y="3365"/>
                    </a:lnTo>
                    <a:lnTo>
                      <a:pt x="385" y="3345"/>
                    </a:lnTo>
                    <a:lnTo>
                      <a:pt x="383" y="3325"/>
                    </a:lnTo>
                    <a:lnTo>
                      <a:pt x="378" y="3310"/>
                    </a:lnTo>
                    <a:lnTo>
                      <a:pt x="370" y="3277"/>
                    </a:lnTo>
                    <a:lnTo>
                      <a:pt x="373" y="585"/>
                    </a:lnTo>
                    <a:lnTo>
                      <a:pt x="280" y="585"/>
                    </a:lnTo>
                    <a:lnTo>
                      <a:pt x="280" y="1567"/>
                    </a:lnTo>
                    <a:lnTo>
                      <a:pt x="275" y="1585"/>
                    </a:lnTo>
                    <a:lnTo>
                      <a:pt x="270" y="1605"/>
                    </a:lnTo>
                    <a:lnTo>
                      <a:pt x="263" y="1620"/>
                    </a:lnTo>
                    <a:lnTo>
                      <a:pt x="253" y="1637"/>
                    </a:lnTo>
                    <a:lnTo>
                      <a:pt x="250" y="1642"/>
                    </a:lnTo>
                    <a:lnTo>
                      <a:pt x="240" y="1652"/>
                    </a:lnTo>
                    <a:lnTo>
                      <a:pt x="230" y="1662"/>
                    </a:lnTo>
                    <a:lnTo>
                      <a:pt x="220" y="1670"/>
                    </a:lnTo>
                    <a:lnTo>
                      <a:pt x="208" y="1682"/>
                    </a:lnTo>
                    <a:lnTo>
                      <a:pt x="198" y="1685"/>
                    </a:lnTo>
                    <a:lnTo>
                      <a:pt x="183" y="1692"/>
                    </a:lnTo>
                    <a:lnTo>
                      <a:pt x="170" y="1695"/>
                    </a:lnTo>
                    <a:lnTo>
                      <a:pt x="160" y="1695"/>
                    </a:lnTo>
                    <a:lnTo>
                      <a:pt x="150" y="1695"/>
                    </a:lnTo>
                    <a:lnTo>
                      <a:pt x="123" y="1695"/>
                    </a:lnTo>
                    <a:lnTo>
                      <a:pt x="113" y="1695"/>
                    </a:lnTo>
                    <a:lnTo>
                      <a:pt x="100" y="1692"/>
                    </a:lnTo>
                    <a:lnTo>
                      <a:pt x="83" y="1687"/>
                    </a:lnTo>
                    <a:lnTo>
                      <a:pt x="75" y="1682"/>
                    </a:lnTo>
                    <a:lnTo>
                      <a:pt x="63" y="1675"/>
                    </a:lnTo>
                    <a:lnTo>
                      <a:pt x="50" y="1667"/>
                    </a:lnTo>
                    <a:lnTo>
                      <a:pt x="43" y="1660"/>
                    </a:lnTo>
                    <a:lnTo>
                      <a:pt x="33" y="1645"/>
                    </a:lnTo>
                    <a:lnTo>
                      <a:pt x="23" y="1637"/>
                    </a:lnTo>
                    <a:lnTo>
                      <a:pt x="15" y="1625"/>
                    </a:lnTo>
                    <a:lnTo>
                      <a:pt x="13" y="1617"/>
                    </a:lnTo>
                    <a:lnTo>
                      <a:pt x="5" y="1600"/>
                    </a:lnTo>
                    <a:lnTo>
                      <a:pt x="3" y="1587"/>
                    </a:lnTo>
                    <a:lnTo>
                      <a:pt x="0" y="1572"/>
                    </a:lnTo>
                    <a:lnTo>
                      <a:pt x="0" y="282"/>
                    </a:lnTo>
                    <a:lnTo>
                      <a:pt x="3" y="240"/>
                    </a:lnTo>
                    <a:lnTo>
                      <a:pt x="13" y="205"/>
                    </a:lnTo>
                    <a:lnTo>
                      <a:pt x="33" y="172"/>
                    </a:lnTo>
                    <a:lnTo>
                      <a:pt x="50" y="147"/>
                    </a:lnTo>
                    <a:lnTo>
                      <a:pt x="73" y="127"/>
                    </a:lnTo>
                    <a:lnTo>
                      <a:pt x="93" y="105"/>
                    </a:lnTo>
                    <a:lnTo>
                      <a:pt x="128" y="80"/>
                    </a:lnTo>
                    <a:lnTo>
                      <a:pt x="165" y="57"/>
                    </a:lnTo>
                    <a:lnTo>
                      <a:pt x="195" y="42"/>
                    </a:lnTo>
                    <a:lnTo>
                      <a:pt x="220" y="32"/>
                    </a:lnTo>
                    <a:lnTo>
                      <a:pt x="263" y="17"/>
                    </a:lnTo>
                    <a:lnTo>
                      <a:pt x="303" y="10"/>
                    </a:lnTo>
                    <a:lnTo>
                      <a:pt x="340" y="5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91" name="Oval 195">
                <a:extLst>
                  <a:ext uri="{FF2B5EF4-FFF2-40B4-BE49-F238E27FC236}">
                    <a16:creationId xmlns:a16="http://schemas.microsoft.com/office/drawing/2014/main" id="{A0719BEE-8C05-39AB-F8CE-410593A75E7A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2312" y="550"/>
                <a:ext cx="657" cy="680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sp>
          <p:nvSpPr>
            <p:cNvPr id="4166" name="Text Box 197">
              <a:extLst>
                <a:ext uri="{FF2B5EF4-FFF2-40B4-BE49-F238E27FC236}">
                  <a16:creationId xmlns:a16="http://schemas.microsoft.com/office/drawing/2014/main" id="{F2BC52FD-CC12-1947-0CB8-D8D11BC6A5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31900" y="4941888"/>
              <a:ext cx="852488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600">
                <a:solidFill>
                  <a:srgbClr val="C0C0C0"/>
                </a:solidFill>
                <a:latin typeface="NewsGoth BT" pitchFamily="34" charset="0"/>
              </a:endParaRPr>
            </a:p>
          </p:txBody>
        </p:sp>
        <p:sp>
          <p:nvSpPr>
            <p:cNvPr id="4167" name="Text Box 200">
              <a:extLst>
                <a:ext uri="{FF2B5EF4-FFF2-40B4-BE49-F238E27FC236}">
                  <a16:creationId xmlns:a16="http://schemas.microsoft.com/office/drawing/2014/main" id="{C5393EFE-9D3E-158F-96E3-41D49F5AE2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13063" y="3408363"/>
              <a:ext cx="1395412" cy="301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1600">
                <a:solidFill>
                  <a:srgbClr val="C0C0C0"/>
                </a:solidFill>
                <a:latin typeface="NewsGoth BT" pitchFamily="34" charset="0"/>
              </a:endParaRPr>
            </a:p>
          </p:txBody>
        </p:sp>
        <p:sp>
          <p:nvSpPr>
            <p:cNvPr id="4171" name="Text Box 220">
              <a:extLst>
                <a:ext uri="{FF2B5EF4-FFF2-40B4-BE49-F238E27FC236}">
                  <a16:creationId xmlns:a16="http://schemas.microsoft.com/office/drawing/2014/main" id="{A9343FA1-66D6-6A0D-597D-9FEFE76C52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27900" y="3403600"/>
              <a:ext cx="1371600" cy="457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73" name="Line 223">
              <a:extLst>
                <a:ext uri="{FF2B5EF4-FFF2-40B4-BE49-F238E27FC236}">
                  <a16:creationId xmlns:a16="http://schemas.microsoft.com/office/drawing/2014/main" id="{7E24F278-C94B-8E40-442C-496C2F3D4D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32275" y="1700213"/>
              <a:ext cx="0" cy="28892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74" name="Line 224">
              <a:extLst>
                <a:ext uri="{FF2B5EF4-FFF2-40B4-BE49-F238E27FC236}">
                  <a16:creationId xmlns:a16="http://schemas.microsoft.com/office/drawing/2014/main" id="{010083EC-2D91-1AB1-BAFD-2F820E8AA1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44938" y="1700213"/>
              <a:ext cx="0" cy="28892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75" name="Line 225">
              <a:extLst>
                <a:ext uri="{FF2B5EF4-FFF2-40B4-BE49-F238E27FC236}">
                  <a16:creationId xmlns:a16="http://schemas.microsoft.com/office/drawing/2014/main" id="{76928B57-04DD-5518-EE1F-F68874EE8A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7600" y="1700213"/>
              <a:ext cx="0" cy="28892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76" name="Text Box 228">
              <a:extLst>
                <a:ext uri="{FF2B5EF4-FFF2-40B4-BE49-F238E27FC236}">
                  <a16:creationId xmlns:a16="http://schemas.microsoft.com/office/drawing/2014/main" id="{B8AAD43F-9565-C225-7F1D-C377C6E11A6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28813" y="836613"/>
              <a:ext cx="1081087" cy="3143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endParaRPr lang="en-GB" altLang="en-US" sz="1000" b="1"/>
            </a:p>
          </p:txBody>
        </p:sp>
        <p:sp>
          <p:nvSpPr>
            <p:cNvPr id="4177" name="Line 233">
              <a:extLst>
                <a:ext uri="{FF2B5EF4-FFF2-40B4-BE49-F238E27FC236}">
                  <a16:creationId xmlns:a16="http://schemas.microsoft.com/office/drawing/2014/main" id="{A1D84DC7-91DB-20A6-6E7E-8FE45C4B93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36650" y="3284538"/>
              <a:ext cx="79216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4178" name="Group 237">
              <a:extLst>
                <a:ext uri="{FF2B5EF4-FFF2-40B4-BE49-F238E27FC236}">
                  <a16:creationId xmlns:a16="http://schemas.microsoft.com/office/drawing/2014/main" id="{923920A5-4810-A560-06A2-FBAC06A70B1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08538" y="1412875"/>
              <a:ext cx="141287" cy="288925"/>
              <a:chOff x="8245" y="4414"/>
              <a:chExt cx="361" cy="806"/>
            </a:xfrm>
          </p:grpSpPr>
          <p:sp>
            <p:nvSpPr>
              <p:cNvPr id="4188" name="Freeform 238">
                <a:extLst>
                  <a:ext uri="{FF2B5EF4-FFF2-40B4-BE49-F238E27FC236}">
                    <a16:creationId xmlns:a16="http://schemas.microsoft.com/office/drawing/2014/main" id="{CFE46672-20FF-1515-1F7D-D2CF549F297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45" y="4567"/>
                <a:ext cx="361" cy="653"/>
              </a:xfrm>
              <a:custGeom>
                <a:avLst/>
                <a:gdLst>
                  <a:gd name="T0" fmla="*/ 0 w 1083"/>
                  <a:gd name="T1" fmla="*/ 0 h 1959"/>
                  <a:gd name="T2" fmla="*/ 0 w 1083"/>
                  <a:gd name="T3" fmla="*/ 0 h 1959"/>
                  <a:gd name="T4" fmla="*/ 0 w 1083"/>
                  <a:gd name="T5" fmla="*/ 0 h 1959"/>
                  <a:gd name="T6" fmla="*/ 0 w 1083"/>
                  <a:gd name="T7" fmla="*/ 0 h 1959"/>
                  <a:gd name="T8" fmla="*/ 0 w 1083"/>
                  <a:gd name="T9" fmla="*/ 0 h 1959"/>
                  <a:gd name="T10" fmla="*/ 0 w 1083"/>
                  <a:gd name="T11" fmla="*/ 0 h 1959"/>
                  <a:gd name="T12" fmla="*/ 0 w 1083"/>
                  <a:gd name="T13" fmla="*/ 0 h 1959"/>
                  <a:gd name="T14" fmla="*/ 0 w 1083"/>
                  <a:gd name="T15" fmla="*/ 0 h 1959"/>
                  <a:gd name="T16" fmla="*/ 0 w 1083"/>
                  <a:gd name="T17" fmla="*/ 0 h 1959"/>
                  <a:gd name="T18" fmla="*/ 0 w 1083"/>
                  <a:gd name="T19" fmla="*/ 0 h 1959"/>
                  <a:gd name="T20" fmla="*/ 0 w 1083"/>
                  <a:gd name="T21" fmla="*/ 0 h 1959"/>
                  <a:gd name="T22" fmla="*/ 0 w 1083"/>
                  <a:gd name="T23" fmla="*/ 0 h 1959"/>
                  <a:gd name="T24" fmla="*/ 0 w 1083"/>
                  <a:gd name="T25" fmla="*/ 0 h 1959"/>
                  <a:gd name="T26" fmla="*/ 0 w 1083"/>
                  <a:gd name="T27" fmla="*/ 0 h 1959"/>
                  <a:gd name="T28" fmla="*/ 0 w 1083"/>
                  <a:gd name="T29" fmla="*/ 1 h 1959"/>
                  <a:gd name="T30" fmla="*/ 0 w 1083"/>
                  <a:gd name="T31" fmla="*/ 1 h 1959"/>
                  <a:gd name="T32" fmla="*/ 0 w 1083"/>
                  <a:gd name="T33" fmla="*/ 1 h 1959"/>
                  <a:gd name="T34" fmla="*/ 0 w 1083"/>
                  <a:gd name="T35" fmla="*/ 1 h 1959"/>
                  <a:gd name="T36" fmla="*/ 0 w 1083"/>
                  <a:gd name="T37" fmla="*/ 1 h 1959"/>
                  <a:gd name="T38" fmla="*/ 0 w 1083"/>
                  <a:gd name="T39" fmla="*/ 1 h 1959"/>
                  <a:gd name="T40" fmla="*/ 0 w 1083"/>
                  <a:gd name="T41" fmla="*/ 1 h 1959"/>
                  <a:gd name="T42" fmla="*/ 0 w 1083"/>
                  <a:gd name="T43" fmla="*/ 1 h 1959"/>
                  <a:gd name="T44" fmla="*/ 0 w 1083"/>
                  <a:gd name="T45" fmla="*/ 1 h 1959"/>
                  <a:gd name="T46" fmla="*/ 0 w 1083"/>
                  <a:gd name="T47" fmla="*/ 1 h 1959"/>
                  <a:gd name="T48" fmla="*/ 0 w 1083"/>
                  <a:gd name="T49" fmla="*/ 1 h 1959"/>
                  <a:gd name="T50" fmla="*/ 0 w 1083"/>
                  <a:gd name="T51" fmla="*/ 1 h 1959"/>
                  <a:gd name="T52" fmla="*/ 0 w 1083"/>
                  <a:gd name="T53" fmla="*/ 1 h 1959"/>
                  <a:gd name="T54" fmla="*/ 0 w 1083"/>
                  <a:gd name="T55" fmla="*/ 1 h 1959"/>
                  <a:gd name="T56" fmla="*/ 0 w 1083"/>
                  <a:gd name="T57" fmla="*/ 1 h 1959"/>
                  <a:gd name="T58" fmla="*/ 0 w 1083"/>
                  <a:gd name="T59" fmla="*/ 1 h 1959"/>
                  <a:gd name="T60" fmla="*/ 0 w 1083"/>
                  <a:gd name="T61" fmla="*/ 1 h 1959"/>
                  <a:gd name="T62" fmla="*/ 0 w 1083"/>
                  <a:gd name="T63" fmla="*/ 1 h 1959"/>
                  <a:gd name="T64" fmla="*/ 0 w 1083"/>
                  <a:gd name="T65" fmla="*/ 1 h 1959"/>
                  <a:gd name="T66" fmla="*/ 0 w 1083"/>
                  <a:gd name="T67" fmla="*/ 1 h 1959"/>
                  <a:gd name="T68" fmla="*/ 0 w 1083"/>
                  <a:gd name="T69" fmla="*/ 0 h 1959"/>
                  <a:gd name="T70" fmla="*/ 0 w 1083"/>
                  <a:gd name="T71" fmla="*/ 0 h 1959"/>
                  <a:gd name="T72" fmla="*/ 0 w 1083"/>
                  <a:gd name="T73" fmla="*/ 0 h 1959"/>
                  <a:gd name="T74" fmla="*/ 0 w 1083"/>
                  <a:gd name="T75" fmla="*/ 0 h 1959"/>
                  <a:gd name="T76" fmla="*/ 0 w 1083"/>
                  <a:gd name="T77" fmla="*/ 0 h 1959"/>
                  <a:gd name="T78" fmla="*/ 0 w 1083"/>
                  <a:gd name="T79" fmla="*/ 0 h 1959"/>
                  <a:gd name="T80" fmla="*/ 0 w 1083"/>
                  <a:gd name="T81" fmla="*/ 0 h 1959"/>
                  <a:gd name="T82" fmla="*/ 0 w 1083"/>
                  <a:gd name="T83" fmla="*/ 0 h 1959"/>
                  <a:gd name="T84" fmla="*/ 0 w 1083"/>
                  <a:gd name="T85" fmla="*/ 0 h 1959"/>
                  <a:gd name="T86" fmla="*/ 0 w 1083"/>
                  <a:gd name="T87" fmla="*/ 0 h 1959"/>
                  <a:gd name="T88" fmla="*/ 0 w 1083"/>
                  <a:gd name="T89" fmla="*/ 0 h 1959"/>
                  <a:gd name="T90" fmla="*/ 0 w 1083"/>
                  <a:gd name="T91" fmla="*/ 0 h 1959"/>
                  <a:gd name="T92" fmla="*/ 0 w 1083"/>
                  <a:gd name="T93" fmla="*/ 0 h 1959"/>
                  <a:gd name="T94" fmla="*/ 0 w 1083"/>
                  <a:gd name="T95" fmla="*/ 0 h 195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083" h="1959">
                    <a:moveTo>
                      <a:pt x="295" y="0"/>
                    </a:moveTo>
                    <a:lnTo>
                      <a:pt x="794" y="0"/>
                    </a:lnTo>
                    <a:lnTo>
                      <a:pt x="805" y="3"/>
                    </a:lnTo>
                    <a:lnTo>
                      <a:pt x="816" y="4"/>
                    </a:lnTo>
                    <a:lnTo>
                      <a:pt x="828" y="8"/>
                    </a:lnTo>
                    <a:lnTo>
                      <a:pt x="840" y="13"/>
                    </a:lnTo>
                    <a:lnTo>
                      <a:pt x="853" y="21"/>
                    </a:lnTo>
                    <a:lnTo>
                      <a:pt x="862" y="28"/>
                    </a:lnTo>
                    <a:lnTo>
                      <a:pt x="874" y="35"/>
                    </a:lnTo>
                    <a:lnTo>
                      <a:pt x="883" y="47"/>
                    </a:lnTo>
                    <a:lnTo>
                      <a:pt x="891" y="55"/>
                    </a:lnTo>
                    <a:lnTo>
                      <a:pt x="900" y="65"/>
                    </a:lnTo>
                    <a:lnTo>
                      <a:pt x="905" y="75"/>
                    </a:lnTo>
                    <a:lnTo>
                      <a:pt x="911" y="86"/>
                    </a:lnTo>
                    <a:lnTo>
                      <a:pt x="917" y="99"/>
                    </a:lnTo>
                    <a:lnTo>
                      <a:pt x="921" y="106"/>
                    </a:lnTo>
                    <a:lnTo>
                      <a:pt x="924" y="120"/>
                    </a:lnTo>
                    <a:lnTo>
                      <a:pt x="930" y="140"/>
                    </a:lnTo>
                    <a:lnTo>
                      <a:pt x="931" y="154"/>
                    </a:lnTo>
                    <a:lnTo>
                      <a:pt x="934" y="173"/>
                    </a:lnTo>
                    <a:lnTo>
                      <a:pt x="1080" y="738"/>
                    </a:lnTo>
                    <a:lnTo>
                      <a:pt x="1083" y="751"/>
                    </a:lnTo>
                    <a:lnTo>
                      <a:pt x="1083" y="764"/>
                    </a:lnTo>
                    <a:lnTo>
                      <a:pt x="1081" y="778"/>
                    </a:lnTo>
                    <a:lnTo>
                      <a:pt x="1078" y="788"/>
                    </a:lnTo>
                    <a:lnTo>
                      <a:pt x="1074" y="799"/>
                    </a:lnTo>
                    <a:lnTo>
                      <a:pt x="1064" y="810"/>
                    </a:lnTo>
                    <a:lnTo>
                      <a:pt x="1056" y="822"/>
                    </a:lnTo>
                    <a:lnTo>
                      <a:pt x="1044" y="827"/>
                    </a:lnTo>
                    <a:lnTo>
                      <a:pt x="1034" y="833"/>
                    </a:lnTo>
                    <a:lnTo>
                      <a:pt x="1023" y="839"/>
                    </a:lnTo>
                    <a:lnTo>
                      <a:pt x="1012" y="839"/>
                    </a:lnTo>
                    <a:lnTo>
                      <a:pt x="1000" y="839"/>
                    </a:lnTo>
                    <a:lnTo>
                      <a:pt x="989" y="839"/>
                    </a:lnTo>
                    <a:lnTo>
                      <a:pt x="978" y="837"/>
                    </a:lnTo>
                    <a:lnTo>
                      <a:pt x="969" y="832"/>
                    </a:lnTo>
                    <a:lnTo>
                      <a:pt x="959" y="826"/>
                    </a:lnTo>
                    <a:lnTo>
                      <a:pt x="949" y="819"/>
                    </a:lnTo>
                    <a:lnTo>
                      <a:pt x="942" y="812"/>
                    </a:lnTo>
                    <a:lnTo>
                      <a:pt x="934" y="800"/>
                    </a:lnTo>
                    <a:lnTo>
                      <a:pt x="930" y="788"/>
                    </a:lnTo>
                    <a:lnTo>
                      <a:pt x="925" y="779"/>
                    </a:lnTo>
                    <a:lnTo>
                      <a:pt x="785" y="278"/>
                    </a:lnTo>
                    <a:lnTo>
                      <a:pt x="737" y="278"/>
                    </a:lnTo>
                    <a:lnTo>
                      <a:pt x="976" y="1211"/>
                    </a:lnTo>
                    <a:lnTo>
                      <a:pt x="784" y="1211"/>
                    </a:lnTo>
                    <a:lnTo>
                      <a:pt x="786" y="1870"/>
                    </a:lnTo>
                    <a:lnTo>
                      <a:pt x="784" y="1884"/>
                    </a:lnTo>
                    <a:lnTo>
                      <a:pt x="781" y="1894"/>
                    </a:lnTo>
                    <a:lnTo>
                      <a:pt x="774" y="1907"/>
                    </a:lnTo>
                    <a:lnTo>
                      <a:pt x="768" y="1918"/>
                    </a:lnTo>
                    <a:lnTo>
                      <a:pt x="760" y="1928"/>
                    </a:lnTo>
                    <a:lnTo>
                      <a:pt x="752" y="1937"/>
                    </a:lnTo>
                    <a:lnTo>
                      <a:pt x="741" y="1945"/>
                    </a:lnTo>
                    <a:lnTo>
                      <a:pt x="730" y="1949"/>
                    </a:lnTo>
                    <a:lnTo>
                      <a:pt x="718" y="1955"/>
                    </a:lnTo>
                    <a:lnTo>
                      <a:pt x="709" y="1958"/>
                    </a:lnTo>
                    <a:lnTo>
                      <a:pt x="697" y="1959"/>
                    </a:lnTo>
                    <a:lnTo>
                      <a:pt x="686" y="1959"/>
                    </a:lnTo>
                    <a:lnTo>
                      <a:pt x="673" y="1959"/>
                    </a:lnTo>
                    <a:lnTo>
                      <a:pt x="663" y="1957"/>
                    </a:lnTo>
                    <a:lnTo>
                      <a:pt x="650" y="1951"/>
                    </a:lnTo>
                    <a:lnTo>
                      <a:pt x="641" y="1947"/>
                    </a:lnTo>
                    <a:lnTo>
                      <a:pt x="631" y="1942"/>
                    </a:lnTo>
                    <a:lnTo>
                      <a:pt x="624" y="1932"/>
                    </a:lnTo>
                    <a:lnTo>
                      <a:pt x="615" y="1925"/>
                    </a:lnTo>
                    <a:lnTo>
                      <a:pt x="608" y="1918"/>
                    </a:lnTo>
                    <a:lnTo>
                      <a:pt x="602" y="1907"/>
                    </a:lnTo>
                    <a:lnTo>
                      <a:pt x="598" y="1898"/>
                    </a:lnTo>
                    <a:lnTo>
                      <a:pt x="595" y="1890"/>
                    </a:lnTo>
                    <a:lnTo>
                      <a:pt x="592" y="1877"/>
                    </a:lnTo>
                    <a:lnTo>
                      <a:pt x="590" y="1870"/>
                    </a:lnTo>
                    <a:lnTo>
                      <a:pt x="592" y="1217"/>
                    </a:lnTo>
                    <a:lnTo>
                      <a:pt x="495" y="1217"/>
                    </a:lnTo>
                    <a:lnTo>
                      <a:pt x="495" y="1870"/>
                    </a:lnTo>
                    <a:lnTo>
                      <a:pt x="493" y="1879"/>
                    </a:lnTo>
                    <a:lnTo>
                      <a:pt x="492" y="1890"/>
                    </a:lnTo>
                    <a:lnTo>
                      <a:pt x="488" y="1898"/>
                    </a:lnTo>
                    <a:lnTo>
                      <a:pt x="483" y="1908"/>
                    </a:lnTo>
                    <a:lnTo>
                      <a:pt x="476" y="1918"/>
                    </a:lnTo>
                    <a:lnTo>
                      <a:pt x="469" y="1930"/>
                    </a:lnTo>
                    <a:lnTo>
                      <a:pt x="462" y="1937"/>
                    </a:lnTo>
                    <a:lnTo>
                      <a:pt x="451" y="1944"/>
                    </a:lnTo>
                    <a:lnTo>
                      <a:pt x="441" y="1949"/>
                    </a:lnTo>
                    <a:lnTo>
                      <a:pt x="429" y="1955"/>
                    </a:lnTo>
                    <a:lnTo>
                      <a:pt x="418" y="1958"/>
                    </a:lnTo>
                    <a:lnTo>
                      <a:pt x="408" y="1959"/>
                    </a:lnTo>
                    <a:lnTo>
                      <a:pt x="397" y="1959"/>
                    </a:lnTo>
                    <a:lnTo>
                      <a:pt x="386" y="1959"/>
                    </a:lnTo>
                    <a:lnTo>
                      <a:pt x="374" y="1957"/>
                    </a:lnTo>
                    <a:lnTo>
                      <a:pt x="363" y="1952"/>
                    </a:lnTo>
                    <a:lnTo>
                      <a:pt x="352" y="1948"/>
                    </a:lnTo>
                    <a:lnTo>
                      <a:pt x="342" y="1942"/>
                    </a:lnTo>
                    <a:lnTo>
                      <a:pt x="335" y="1937"/>
                    </a:lnTo>
                    <a:lnTo>
                      <a:pt x="326" y="1930"/>
                    </a:lnTo>
                    <a:lnTo>
                      <a:pt x="322" y="1921"/>
                    </a:lnTo>
                    <a:lnTo>
                      <a:pt x="313" y="1913"/>
                    </a:lnTo>
                    <a:lnTo>
                      <a:pt x="309" y="1901"/>
                    </a:lnTo>
                    <a:lnTo>
                      <a:pt x="303" y="1890"/>
                    </a:lnTo>
                    <a:lnTo>
                      <a:pt x="303" y="1879"/>
                    </a:lnTo>
                    <a:lnTo>
                      <a:pt x="302" y="1870"/>
                    </a:lnTo>
                    <a:lnTo>
                      <a:pt x="302" y="1217"/>
                    </a:lnTo>
                    <a:lnTo>
                      <a:pt x="108" y="1217"/>
                    </a:lnTo>
                    <a:lnTo>
                      <a:pt x="350" y="276"/>
                    </a:lnTo>
                    <a:lnTo>
                      <a:pt x="302" y="276"/>
                    </a:lnTo>
                    <a:lnTo>
                      <a:pt x="160" y="786"/>
                    </a:lnTo>
                    <a:lnTo>
                      <a:pt x="153" y="802"/>
                    </a:lnTo>
                    <a:lnTo>
                      <a:pt x="148" y="815"/>
                    </a:lnTo>
                    <a:lnTo>
                      <a:pt x="140" y="826"/>
                    </a:lnTo>
                    <a:lnTo>
                      <a:pt x="133" y="837"/>
                    </a:lnTo>
                    <a:lnTo>
                      <a:pt x="122" y="843"/>
                    </a:lnTo>
                    <a:lnTo>
                      <a:pt x="115" y="847"/>
                    </a:lnTo>
                    <a:lnTo>
                      <a:pt x="101" y="851"/>
                    </a:lnTo>
                    <a:lnTo>
                      <a:pt x="88" y="854"/>
                    </a:lnTo>
                    <a:lnTo>
                      <a:pt x="72" y="853"/>
                    </a:lnTo>
                    <a:lnTo>
                      <a:pt x="63" y="851"/>
                    </a:lnTo>
                    <a:lnTo>
                      <a:pt x="53" y="851"/>
                    </a:lnTo>
                    <a:lnTo>
                      <a:pt x="41" y="844"/>
                    </a:lnTo>
                    <a:lnTo>
                      <a:pt x="31" y="839"/>
                    </a:lnTo>
                    <a:lnTo>
                      <a:pt x="21" y="830"/>
                    </a:lnTo>
                    <a:lnTo>
                      <a:pt x="14" y="823"/>
                    </a:lnTo>
                    <a:lnTo>
                      <a:pt x="9" y="812"/>
                    </a:lnTo>
                    <a:lnTo>
                      <a:pt x="4" y="802"/>
                    </a:lnTo>
                    <a:lnTo>
                      <a:pt x="2" y="793"/>
                    </a:lnTo>
                    <a:lnTo>
                      <a:pt x="0" y="782"/>
                    </a:lnTo>
                    <a:lnTo>
                      <a:pt x="0" y="769"/>
                    </a:lnTo>
                    <a:lnTo>
                      <a:pt x="0" y="762"/>
                    </a:lnTo>
                    <a:lnTo>
                      <a:pt x="3" y="754"/>
                    </a:lnTo>
                    <a:lnTo>
                      <a:pt x="153" y="164"/>
                    </a:lnTo>
                    <a:lnTo>
                      <a:pt x="155" y="149"/>
                    </a:lnTo>
                    <a:lnTo>
                      <a:pt x="159" y="136"/>
                    </a:lnTo>
                    <a:lnTo>
                      <a:pt x="160" y="127"/>
                    </a:lnTo>
                    <a:lnTo>
                      <a:pt x="163" y="116"/>
                    </a:lnTo>
                    <a:lnTo>
                      <a:pt x="167" y="103"/>
                    </a:lnTo>
                    <a:lnTo>
                      <a:pt x="170" y="92"/>
                    </a:lnTo>
                    <a:lnTo>
                      <a:pt x="179" y="78"/>
                    </a:lnTo>
                    <a:lnTo>
                      <a:pt x="186" y="67"/>
                    </a:lnTo>
                    <a:lnTo>
                      <a:pt x="193" y="57"/>
                    </a:lnTo>
                    <a:lnTo>
                      <a:pt x="203" y="47"/>
                    </a:lnTo>
                    <a:lnTo>
                      <a:pt x="213" y="35"/>
                    </a:lnTo>
                    <a:lnTo>
                      <a:pt x="223" y="30"/>
                    </a:lnTo>
                    <a:lnTo>
                      <a:pt x="233" y="21"/>
                    </a:lnTo>
                    <a:lnTo>
                      <a:pt x="247" y="13"/>
                    </a:lnTo>
                    <a:lnTo>
                      <a:pt x="259" y="8"/>
                    </a:lnTo>
                    <a:lnTo>
                      <a:pt x="275" y="3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89" name="Oval 239">
                <a:extLst>
                  <a:ext uri="{FF2B5EF4-FFF2-40B4-BE49-F238E27FC236}">
                    <a16:creationId xmlns:a16="http://schemas.microsoft.com/office/drawing/2014/main" id="{2FE67A70-CC2F-9212-4778-21BD664F23E3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361" y="4414"/>
                <a:ext cx="124" cy="12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en-US" sz="2400"/>
              </a:p>
            </p:txBody>
          </p:sp>
        </p:grpSp>
        <p:sp>
          <p:nvSpPr>
            <p:cNvPr id="4179" name="Rectangle 87">
              <a:extLst>
                <a:ext uri="{FF2B5EF4-FFF2-40B4-BE49-F238E27FC236}">
                  <a16:creationId xmlns:a16="http://schemas.microsoft.com/office/drawing/2014/main" id="{6DFFE11C-4170-E106-34FA-C1F714BC68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7950" y="5318125"/>
              <a:ext cx="388938" cy="97948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80" name="Rectangle 240">
              <a:extLst>
                <a:ext uri="{FF2B5EF4-FFF2-40B4-BE49-F238E27FC236}">
                  <a16:creationId xmlns:a16="http://schemas.microsoft.com/office/drawing/2014/main" id="{74777A84-69BB-45FE-68B5-E33A79B0E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5888" y="3213100"/>
              <a:ext cx="431800" cy="360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81" name="Rectangle 245">
              <a:extLst>
                <a:ext uri="{FF2B5EF4-FFF2-40B4-BE49-F238E27FC236}">
                  <a16:creationId xmlns:a16="http://schemas.microsoft.com/office/drawing/2014/main" id="{223730F6-DCD2-8D57-EC91-A25F33309E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3988" y="1196975"/>
              <a:ext cx="288925" cy="431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sp>
          <p:nvSpPr>
            <p:cNvPr id="4182" name="Rectangle 251">
              <a:extLst>
                <a:ext uri="{FF2B5EF4-FFF2-40B4-BE49-F238E27FC236}">
                  <a16:creationId xmlns:a16="http://schemas.microsoft.com/office/drawing/2014/main" id="{033687B6-6671-7897-732B-AB6DAB44E4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2775" y="5300663"/>
              <a:ext cx="465138" cy="37623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GB" altLang="en-US" sz="2400"/>
            </a:p>
          </p:txBody>
        </p:sp>
        <p:pic>
          <p:nvPicPr>
            <p:cNvPr id="4183" name="Picture 208">
              <a:extLst>
                <a:ext uri="{FF2B5EF4-FFF2-40B4-BE49-F238E27FC236}">
                  <a16:creationId xmlns:a16="http://schemas.microsoft.com/office/drawing/2014/main" id="{76CA3397-CAC4-5D43-02B1-6036AFABD7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9488" y="2843213"/>
              <a:ext cx="120650" cy="377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184" name="Line 184">
              <a:extLst>
                <a:ext uri="{FF2B5EF4-FFF2-40B4-BE49-F238E27FC236}">
                  <a16:creationId xmlns:a16="http://schemas.microsoft.com/office/drawing/2014/main" id="{066C90EC-93CE-9013-14FA-006FAEDF94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316788" y="3068638"/>
              <a:ext cx="354012" cy="41592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pic>
          <p:nvPicPr>
            <p:cNvPr id="4185" name="Picture 211">
              <a:extLst>
                <a:ext uri="{FF2B5EF4-FFF2-40B4-BE49-F238E27FC236}">
                  <a16:creationId xmlns:a16="http://schemas.microsoft.com/office/drawing/2014/main" id="{0AC0FC9C-E494-8B1B-D3B9-7D2E78AAD3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1775" y="5113338"/>
              <a:ext cx="93663" cy="3857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186" name="Line 184">
              <a:extLst>
                <a:ext uri="{FF2B5EF4-FFF2-40B4-BE49-F238E27FC236}">
                  <a16:creationId xmlns:a16="http://schemas.microsoft.com/office/drawing/2014/main" id="{1BC46640-DB11-D0AB-27A3-19DC850FA0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92538" y="5849938"/>
              <a:ext cx="7937" cy="47307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87" name="Line 222">
              <a:extLst>
                <a:ext uri="{FF2B5EF4-FFF2-40B4-BE49-F238E27FC236}">
                  <a16:creationId xmlns:a16="http://schemas.microsoft.com/office/drawing/2014/main" id="{8388F002-DC13-AB05-02B9-4E383C610A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088" y="2060575"/>
              <a:ext cx="0" cy="28892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ABD1205-0472-63B2-12E7-C6A6B9990171}"/>
              </a:ext>
            </a:extLst>
          </p:cNvPr>
          <p:cNvSpPr/>
          <p:nvPr/>
        </p:nvSpPr>
        <p:spPr>
          <a:xfrm>
            <a:off x="296917" y="2799732"/>
            <a:ext cx="1387159" cy="146197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Seat #001 Selected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3FB116D-EB50-6718-31A0-06607CA9B62A}"/>
              </a:ext>
            </a:extLst>
          </p:cNvPr>
          <p:cNvSpPr/>
          <p:nvPr/>
        </p:nvSpPr>
        <p:spPr>
          <a:xfrm>
            <a:off x="296917" y="4282357"/>
            <a:ext cx="1387159" cy="52903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Confirm Booking</a:t>
            </a:r>
          </a:p>
        </p:txBody>
      </p:sp>
    </p:spTree>
    <p:extLst>
      <p:ext uri="{BB962C8B-B14F-4D97-AF65-F5344CB8AC3E}">
        <p14:creationId xmlns:p14="http://schemas.microsoft.com/office/powerpoint/2010/main" val="41872599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467E6-B03F-73F5-E7EF-82777DE3F2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GB" dirty="0"/>
              <a:t>Confirmation Receipt Examp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EFD783-D760-6E6D-FD33-3950204FD1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GB" dirty="0"/>
              <a:t>Map Examp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12402E-1C9B-6A4F-818E-4C3B0CFA8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Wireframes - 4/4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1F38727-D2D2-B65F-E5BD-A16AAA70111E}"/>
              </a:ext>
            </a:extLst>
          </p:cNvPr>
          <p:cNvSpPr/>
          <p:nvPr/>
        </p:nvSpPr>
        <p:spPr>
          <a:xfrm>
            <a:off x="111759" y="1961179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368C68F-055B-19C3-726B-2C515346D827}"/>
              </a:ext>
            </a:extLst>
          </p:cNvPr>
          <p:cNvSpPr/>
          <p:nvPr/>
        </p:nvSpPr>
        <p:spPr>
          <a:xfrm>
            <a:off x="386080" y="2194560"/>
            <a:ext cx="5238778" cy="4165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Error: Desk Not Booked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A35907-EDD2-3DEA-C431-1FC9D2E67324}"/>
              </a:ext>
            </a:extLst>
          </p:cNvPr>
          <p:cNvSpPr/>
          <p:nvPr/>
        </p:nvSpPr>
        <p:spPr>
          <a:xfrm>
            <a:off x="386080" y="2682240"/>
            <a:ext cx="5238778" cy="27357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Unable to proceed with booking, there is a chance someone has just booked this desk.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lease return to the desk selection screen and try again.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CBEFB3A-13D2-69FA-23CB-33275C597720}"/>
              </a:ext>
            </a:extLst>
          </p:cNvPr>
          <p:cNvSpPr/>
          <p:nvPr/>
        </p:nvSpPr>
        <p:spPr>
          <a:xfrm>
            <a:off x="6238242" y="1961179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4DA3CFD-FC3B-4E9E-B7E9-919C17A62BD2}"/>
              </a:ext>
            </a:extLst>
          </p:cNvPr>
          <p:cNvSpPr/>
          <p:nvPr/>
        </p:nvSpPr>
        <p:spPr>
          <a:xfrm>
            <a:off x="6512562" y="2194560"/>
            <a:ext cx="5238778" cy="4165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Desk Booked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5514411-9BB2-6DBA-B76F-F745897026D8}"/>
              </a:ext>
            </a:extLst>
          </p:cNvPr>
          <p:cNvSpPr/>
          <p:nvPr/>
        </p:nvSpPr>
        <p:spPr>
          <a:xfrm>
            <a:off x="6512562" y="2778908"/>
            <a:ext cx="5238778" cy="240269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I can confirm your desk has been booked at </a:t>
            </a:r>
            <a:r>
              <a:rPr lang="en-GB" b="1" dirty="0" err="1"/>
              <a:t>office_name</a:t>
            </a:r>
            <a:r>
              <a:rPr lang="en-GB" dirty="0"/>
              <a:t> on </a:t>
            </a:r>
            <a:r>
              <a:rPr lang="en-GB" b="1" dirty="0" err="1"/>
              <a:t>floor_number</a:t>
            </a:r>
            <a:r>
              <a:rPr lang="en-GB" b="1" dirty="0"/>
              <a:t> </a:t>
            </a:r>
            <a:r>
              <a:rPr lang="en-GB" dirty="0"/>
              <a:t>at</a:t>
            </a:r>
            <a:r>
              <a:rPr lang="en-GB" b="1" dirty="0"/>
              <a:t> desk #123 </a:t>
            </a:r>
            <a:r>
              <a:rPr lang="en-GB" dirty="0"/>
              <a:t>for</a:t>
            </a:r>
            <a:r>
              <a:rPr lang="en-GB" b="1" dirty="0"/>
              <a:t> 01/01/24 09:00-17:00</a:t>
            </a:r>
            <a:br>
              <a:rPr lang="en-GB" b="1" dirty="0"/>
            </a:br>
            <a:br>
              <a:rPr lang="en-GB" b="1" dirty="0"/>
            </a:br>
            <a:r>
              <a:rPr lang="en-GB" dirty="0"/>
              <a:t>An email has been sent to your </a:t>
            </a:r>
            <a:r>
              <a:rPr lang="en-GB" dirty="0" err="1"/>
              <a:t>teamleader</a:t>
            </a:r>
            <a:r>
              <a:rPr lang="en-GB" dirty="0"/>
              <a:t> to notify them of your booking.</a:t>
            </a:r>
          </a:p>
          <a:p>
            <a:pPr algn="ctr"/>
            <a:endParaRPr lang="en-GB" dirty="0"/>
          </a:p>
          <a:p>
            <a:pPr algn="ctr"/>
            <a:r>
              <a:rPr lang="en-GB" dirty="0"/>
              <a:t>Please return Home to book further desks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5C202C6E-386C-5861-FE59-303FAA188C9B}"/>
              </a:ext>
            </a:extLst>
          </p:cNvPr>
          <p:cNvSpPr/>
          <p:nvPr/>
        </p:nvSpPr>
        <p:spPr>
          <a:xfrm>
            <a:off x="9072882" y="5577164"/>
            <a:ext cx="2716825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Log Out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2E9F271F-E71D-583E-5B0A-A5FF4AEEDB20}"/>
              </a:ext>
            </a:extLst>
          </p:cNvPr>
          <p:cNvSpPr/>
          <p:nvPr/>
        </p:nvSpPr>
        <p:spPr>
          <a:xfrm>
            <a:off x="6529691" y="5577164"/>
            <a:ext cx="2425374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Hom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E374300-893C-6E83-FC78-2327B13A576E}"/>
              </a:ext>
            </a:extLst>
          </p:cNvPr>
          <p:cNvSpPr/>
          <p:nvPr/>
        </p:nvSpPr>
        <p:spPr>
          <a:xfrm>
            <a:off x="386080" y="5564819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algn="ctr"/>
            <a:r>
              <a:rPr lang="en-GB" dirty="0"/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2928739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6844D60-55B7-8632-77D7-1DB7F2726C36}"/>
              </a:ext>
            </a:extLst>
          </p:cNvPr>
          <p:cNvSpPr/>
          <p:nvPr/>
        </p:nvSpPr>
        <p:spPr>
          <a:xfrm>
            <a:off x="0" y="1129153"/>
            <a:ext cx="12192000" cy="54806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075317-D9AA-D28F-E0F9-5B4E8DE78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pendencies &amp; Requirem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A004AA-409A-6FDD-AF23-D4EC609B8A3B}"/>
              </a:ext>
            </a:extLst>
          </p:cNvPr>
          <p:cNvSpPr txBox="1"/>
          <p:nvPr/>
        </p:nvSpPr>
        <p:spPr>
          <a:xfrm>
            <a:off x="265611" y="1285285"/>
            <a:ext cx="1185672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• Map API – need to ensure seating is up to date</a:t>
            </a:r>
          </a:p>
          <a:p>
            <a:r>
              <a:rPr lang="en-GB" sz="2400" dirty="0"/>
              <a:t>• Login database needs to be active 24/7 for ease of use</a:t>
            </a:r>
          </a:p>
          <a:p>
            <a:r>
              <a:rPr lang="en-GB" sz="2400" dirty="0"/>
              <a:t>• Colleague data needs to be frequently updated to protect the business and colleagues</a:t>
            </a:r>
          </a:p>
          <a:p>
            <a:r>
              <a:rPr lang="en-GB" sz="2400" dirty="0"/>
              <a:t>• Sign off from risk </a:t>
            </a:r>
          </a:p>
          <a:p>
            <a:r>
              <a:rPr lang="en-GB" sz="2400" dirty="0"/>
              <a:t>• Integration with other systems such as Microsoft calendar applications within outlook/teams</a:t>
            </a:r>
          </a:p>
          <a:p>
            <a:r>
              <a:rPr lang="en-GB" sz="2400" dirty="0"/>
              <a:t>• Real time data </a:t>
            </a:r>
          </a:p>
          <a:p>
            <a:r>
              <a:rPr lang="en-GB" sz="2400" dirty="0"/>
              <a:t>• User authentication and permissions</a:t>
            </a:r>
          </a:p>
          <a:p>
            <a:r>
              <a:rPr lang="en-GB" sz="2400" dirty="0"/>
              <a:t>• Mobile/Web compatibility</a:t>
            </a:r>
          </a:p>
          <a:p>
            <a:r>
              <a:rPr lang="en-GB" sz="2400" dirty="0"/>
              <a:t>• User feedback abilities to ensure good app performance </a:t>
            </a:r>
          </a:p>
          <a:p>
            <a:r>
              <a:rPr lang="en-GB" sz="2400" dirty="0"/>
              <a:t>• Notification &amp; reminders </a:t>
            </a:r>
          </a:p>
          <a:p>
            <a:r>
              <a:rPr lang="en-GB" sz="2400" dirty="0"/>
              <a:t>• Maintenance</a:t>
            </a:r>
          </a:p>
          <a:p>
            <a:r>
              <a:rPr lang="en-GB" sz="2400" dirty="0"/>
              <a:t>• Scalability to ensure can keep up with business growth </a:t>
            </a:r>
          </a:p>
          <a:p>
            <a:r>
              <a:rPr lang="en-GB" sz="2400" dirty="0"/>
              <a:t>• Customisation for accessibility purposes</a:t>
            </a:r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6123127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BDF6F74-3EDD-C63B-502C-16339E484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ment &amp; Deployment Proces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1941DC5-B3B5-D7EA-76AB-9FA451E2788D}"/>
              </a:ext>
            </a:extLst>
          </p:cNvPr>
          <p:cNvSpPr/>
          <p:nvPr/>
        </p:nvSpPr>
        <p:spPr>
          <a:xfrm>
            <a:off x="221298" y="2760480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esign Review with UX Designe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6E8A50B-8FA8-DD59-F9B2-6C783D8B803D}"/>
              </a:ext>
            </a:extLst>
          </p:cNvPr>
          <p:cNvSpPr/>
          <p:nvPr/>
        </p:nvSpPr>
        <p:spPr>
          <a:xfrm>
            <a:off x="1785938" y="2760480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isk Revie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8EE1BE2-6DED-1A89-7BE4-7CDE5D68A92B}"/>
              </a:ext>
            </a:extLst>
          </p:cNvPr>
          <p:cNvSpPr/>
          <p:nvPr/>
        </p:nvSpPr>
        <p:spPr>
          <a:xfrm>
            <a:off x="3299904" y="2774200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LT Review &amp; Sign Off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5140FE9-019D-3703-B1CC-4630143CA3F0}"/>
              </a:ext>
            </a:extLst>
          </p:cNvPr>
          <p:cNvSpPr/>
          <p:nvPr/>
        </p:nvSpPr>
        <p:spPr>
          <a:xfrm>
            <a:off x="4750188" y="2793251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Code Developme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1C9D967-397F-C844-A320-9F2D5D316FBA}"/>
              </a:ext>
            </a:extLst>
          </p:cNvPr>
          <p:cNvSpPr/>
          <p:nvPr/>
        </p:nvSpPr>
        <p:spPr>
          <a:xfrm>
            <a:off x="6259134" y="2760480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LT Review To Release For Testing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361F53E-929E-FB2A-A331-2364F6E42377}"/>
              </a:ext>
            </a:extLst>
          </p:cNvPr>
          <p:cNvSpPr/>
          <p:nvPr/>
        </p:nvSpPr>
        <p:spPr>
          <a:xfrm>
            <a:off x="7773100" y="2777760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elease To 3 Team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DEAD887-E8E1-C7BB-7C9D-E6499F0398DB}"/>
              </a:ext>
            </a:extLst>
          </p:cNvPr>
          <p:cNvSpPr/>
          <p:nvPr/>
        </p:nvSpPr>
        <p:spPr>
          <a:xfrm>
            <a:off x="9287066" y="2760480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elease To Offic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4AC80B5-175C-39ED-CE2E-8FCB1D115575}"/>
              </a:ext>
            </a:extLst>
          </p:cNvPr>
          <p:cNvSpPr/>
          <p:nvPr/>
        </p:nvSpPr>
        <p:spPr>
          <a:xfrm>
            <a:off x="10766681" y="2760480"/>
            <a:ext cx="1370076" cy="1080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epeat Until All Offices Are Trained</a:t>
            </a: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01F93EF7-CC68-A1F8-4626-24F7AD13BE4C}"/>
              </a:ext>
            </a:extLst>
          </p:cNvPr>
          <p:cNvCxnSpPr>
            <a:cxnSpLocks/>
            <a:stCxn id="9" idx="2"/>
            <a:endCxn id="10" idx="2"/>
          </p:cNvCxnSpPr>
          <p:nvPr/>
        </p:nvCxnSpPr>
        <p:spPr>
          <a:xfrm rot="16200000" flipH="1">
            <a:off x="1688656" y="3058160"/>
            <a:ext cx="12700" cy="1564640"/>
          </a:xfrm>
          <a:prstGeom prst="bentConnector3">
            <a:avLst>
              <a:gd name="adj1" fmla="val 292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999EA5AE-1C55-F378-FA34-1D9271B806CC}"/>
              </a:ext>
            </a:extLst>
          </p:cNvPr>
          <p:cNvCxnSpPr>
            <a:cxnSpLocks/>
            <a:stCxn id="10" idx="0"/>
            <a:endCxn id="11" idx="0"/>
          </p:cNvCxnSpPr>
          <p:nvPr/>
        </p:nvCxnSpPr>
        <p:spPr>
          <a:xfrm rot="16200000" flipH="1">
            <a:off x="3221099" y="2010357"/>
            <a:ext cx="13720" cy="1513966"/>
          </a:xfrm>
          <a:prstGeom prst="bentConnector3">
            <a:avLst>
              <a:gd name="adj1" fmla="val -322128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0E47E837-EEA3-D0DB-84AB-E5836EBAF6D8}"/>
              </a:ext>
            </a:extLst>
          </p:cNvPr>
          <p:cNvCxnSpPr>
            <a:cxnSpLocks/>
            <a:stCxn id="11" idx="2"/>
            <a:endCxn id="12" idx="2"/>
          </p:cNvCxnSpPr>
          <p:nvPr/>
        </p:nvCxnSpPr>
        <p:spPr>
          <a:xfrm rot="16200000" flipH="1">
            <a:off x="4700559" y="3138583"/>
            <a:ext cx="19051" cy="1450284"/>
          </a:xfrm>
          <a:prstGeom prst="bentConnector3">
            <a:avLst>
              <a:gd name="adj1" fmla="val 247320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017DA48D-C558-B82B-ADF0-CCA76592172F}"/>
              </a:ext>
            </a:extLst>
          </p:cNvPr>
          <p:cNvCxnSpPr>
            <a:cxnSpLocks/>
            <a:stCxn id="12" idx="0"/>
            <a:endCxn id="13" idx="0"/>
          </p:cNvCxnSpPr>
          <p:nvPr/>
        </p:nvCxnSpPr>
        <p:spPr>
          <a:xfrm rot="5400000" flipH="1" flipV="1">
            <a:off x="6173314" y="2022393"/>
            <a:ext cx="32771" cy="1508946"/>
          </a:xfrm>
          <a:prstGeom prst="bentConnector3">
            <a:avLst>
              <a:gd name="adj1" fmla="val 160364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9216421E-C034-BC87-3777-E42E9553D224}"/>
              </a:ext>
            </a:extLst>
          </p:cNvPr>
          <p:cNvCxnSpPr>
            <a:cxnSpLocks/>
          </p:cNvCxnSpPr>
          <p:nvPr/>
        </p:nvCxnSpPr>
        <p:spPr>
          <a:xfrm rot="16200000" flipH="1">
            <a:off x="7722045" y="3092137"/>
            <a:ext cx="17280" cy="1513966"/>
          </a:xfrm>
          <a:prstGeom prst="bentConnector3">
            <a:avLst>
              <a:gd name="adj1" fmla="val 218726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57E99D30-4800-C6A2-CED5-8DF4C3A68277}"/>
              </a:ext>
            </a:extLst>
          </p:cNvPr>
          <p:cNvCxnSpPr>
            <a:cxnSpLocks/>
            <a:stCxn id="14" idx="0"/>
            <a:endCxn id="15" idx="0"/>
          </p:cNvCxnSpPr>
          <p:nvPr/>
        </p:nvCxnSpPr>
        <p:spPr>
          <a:xfrm rot="5400000" flipH="1" flipV="1">
            <a:off x="9206481" y="2012137"/>
            <a:ext cx="17280" cy="1513966"/>
          </a:xfrm>
          <a:prstGeom prst="bentConnector3">
            <a:avLst>
              <a:gd name="adj1" fmla="val 259884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FDD50BC9-B952-5267-DA18-1BDE5FA5657F}"/>
              </a:ext>
            </a:extLst>
          </p:cNvPr>
          <p:cNvCxnSpPr>
            <a:cxnSpLocks/>
            <a:stCxn id="15" idx="2"/>
            <a:endCxn id="16" idx="2"/>
          </p:cNvCxnSpPr>
          <p:nvPr/>
        </p:nvCxnSpPr>
        <p:spPr>
          <a:xfrm rot="16200000" flipH="1">
            <a:off x="10711911" y="3100672"/>
            <a:ext cx="12700" cy="1479615"/>
          </a:xfrm>
          <a:prstGeom prst="bentConnector3">
            <a:avLst>
              <a:gd name="adj1" fmla="val 284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46637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B8FBB47-FAD5-6D9F-AC89-5FEE1561265A}"/>
              </a:ext>
            </a:extLst>
          </p:cNvPr>
          <p:cNvGraphicFramePr>
            <a:graphicFrameLocks noGrp="1"/>
          </p:cNvGraphicFramePr>
          <p:nvPr>
            <p:ph idx="18"/>
            <p:extLst>
              <p:ext uri="{D42A27DB-BD31-4B8C-83A1-F6EECF244321}">
                <p14:modId xmlns:p14="http://schemas.microsoft.com/office/powerpoint/2010/main" val="2205633839"/>
              </p:ext>
            </p:extLst>
          </p:nvPr>
        </p:nvGraphicFramePr>
        <p:xfrm>
          <a:off x="195580" y="1272839"/>
          <a:ext cx="5100638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see who is on the desks near 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make an informed decision where I want to s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32A3D02E-7AFD-7E6C-E191-8E63E914E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r Stories + Planning Poker Scores 1/3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7C851A2-B44B-73A8-ECAB-6EB778A9FE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5974221"/>
              </p:ext>
            </p:extLst>
          </p:nvPr>
        </p:nvGraphicFramePr>
        <p:xfrm>
          <a:off x="195580" y="2740660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</a:t>
                      </a:r>
                      <a:r>
                        <a:rPr lang="en-GB" dirty="0" err="1"/>
                        <a:t>teamleader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see who/where my team are s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make an informed decision when to come into the off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F5F7ECF-0E80-54EF-0252-9A65BA70C7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8688021"/>
              </p:ext>
            </p:extLst>
          </p:nvPr>
        </p:nvGraphicFramePr>
        <p:xfrm>
          <a:off x="195580" y="4208481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see who/where my team are s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make an informed decision when to come into the off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0" name="Table 7">
            <a:extLst>
              <a:ext uri="{FF2B5EF4-FFF2-40B4-BE49-F238E27FC236}">
                <a16:creationId xmlns:a16="http://schemas.microsoft.com/office/drawing/2014/main" id="{F31CFBC8-C148-222D-9116-527237E391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095917"/>
              </p:ext>
            </p:extLst>
          </p:nvPr>
        </p:nvGraphicFramePr>
        <p:xfrm>
          <a:off x="6248403" y="1272839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</a:t>
                      </a:r>
                      <a:r>
                        <a:rPr lang="en-GB"/>
                        <a:t>a user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see the current plan for my upcoming book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plan my schedu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8099331-E508-AF37-EC84-CE507A4201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938366"/>
              </p:ext>
            </p:extLst>
          </p:nvPr>
        </p:nvGraphicFramePr>
        <p:xfrm>
          <a:off x="6248403" y="2740660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mana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ould like to be informed on non-atten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ensure my team are following the rules of the busi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B7B2C83-DCAF-D8E7-57C1-CFF71A9A0C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8830990"/>
              </p:ext>
            </p:extLst>
          </p:nvPr>
        </p:nvGraphicFramePr>
        <p:xfrm>
          <a:off x="6248403" y="4208481"/>
          <a:ext cx="510063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ould like to receive notifications of my book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don’t forget I’ve booked a slo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ACA6AE1-03EB-B77C-A88B-DA882F542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044349"/>
              </p:ext>
            </p:extLst>
          </p:nvPr>
        </p:nvGraphicFramePr>
        <p:xfrm>
          <a:off x="5296218" y="1261805"/>
          <a:ext cx="647381" cy="1387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7097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1673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5884584-D59E-270C-7C61-B3DC0CD6F9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2360125"/>
              </p:ext>
            </p:extLst>
          </p:nvPr>
        </p:nvGraphicFramePr>
        <p:xfrm>
          <a:off x="5296217" y="2735143"/>
          <a:ext cx="647381" cy="1387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7097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1673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5" name="Table 13">
            <a:extLst>
              <a:ext uri="{FF2B5EF4-FFF2-40B4-BE49-F238E27FC236}">
                <a16:creationId xmlns:a16="http://schemas.microsoft.com/office/drawing/2014/main" id="{D1FE37E5-92AA-AF28-9FF6-A1ACD575D7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539637"/>
              </p:ext>
            </p:extLst>
          </p:nvPr>
        </p:nvGraphicFramePr>
        <p:xfrm>
          <a:off x="5296217" y="4197447"/>
          <a:ext cx="647381" cy="1387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7097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1673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7D5B4A2E-8862-469D-CDD3-3BAD6B4AAF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2155204"/>
              </p:ext>
            </p:extLst>
          </p:nvPr>
        </p:nvGraphicFramePr>
        <p:xfrm>
          <a:off x="11358785" y="1261805"/>
          <a:ext cx="647381" cy="1365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6338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01965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9" name="Table 13">
            <a:extLst>
              <a:ext uri="{FF2B5EF4-FFF2-40B4-BE49-F238E27FC236}">
                <a16:creationId xmlns:a16="http://schemas.microsoft.com/office/drawing/2014/main" id="{2D569E2E-2118-A87C-7CA9-84F5B87EFB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9849362"/>
              </p:ext>
            </p:extLst>
          </p:nvPr>
        </p:nvGraphicFramePr>
        <p:xfrm>
          <a:off x="11365991" y="2735143"/>
          <a:ext cx="647381" cy="1365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6338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01965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20" name="Table 13">
            <a:extLst>
              <a:ext uri="{FF2B5EF4-FFF2-40B4-BE49-F238E27FC236}">
                <a16:creationId xmlns:a16="http://schemas.microsoft.com/office/drawing/2014/main" id="{B9457B40-0B40-E203-BD8D-53C8ED22BE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750158"/>
              </p:ext>
            </p:extLst>
          </p:nvPr>
        </p:nvGraphicFramePr>
        <p:xfrm>
          <a:off x="11338879" y="4208481"/>
          <a:ext cx="647381" cy="11184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379598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738876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9909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B8FBB47-FAD5-6D9F-AC89-5FEE1561265A}"/>
              </a:ext>
            </a:extLst>
          </p:cNvPr>
          <p:cNvGraphicFramePr>
            <a:graphicFrameLocks noGrp="1"/>
          </p:cNvGraphicFramePr>
          <p:nvPr>
            <p:ph idx="18"/>
            <p:extLst>
              <p:ext uri="{D42A27DB-BD31-4B8C-83A1-F6EECF244321}">
                <p14:modId xmlns:p14="http://schemas.microsoft.com/office/powerpoint/2010/main" val="561598742"/>
              </p:ext>
            </p:extLst>
          </p:nvPr>
        </p:nvGraphicFramePr>
        <p:xfrm>
          <a:off x="195580" y="1272839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filter desks based on amen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sit near a relevant location </a:t>
                      </a:r>
                      <a:r>
                        <a:rPr lang="en-GB" dirty="0" err="1"/>
                        <a:t>ie</a:t>
                      </a:r>
                      <a:r>
                        <a:rPr lang="en-GB" dirty="0"/>
                        <a:t> close to toile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32A3D02E-7AFD-7E6C-E191-8E63E914E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r Stories + Planning Poker Scores 2/3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7C851A2-B44B-73A8-ECAB-6EB778A9FE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1867906"/>
              </p:ext>
            </p:extLst>
          </p:nvPr>
        </p:nvGraphicFramePr>
        <p:xfrm>
          <a:off x="195580" y="2740660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provide feedback on my sea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the business is aware of any issues to rectify any issu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F5F7ECF-0E80-54EF-0252-9A65BA70C753}"/>
              </a:ext>
            </a:extLst>
          </p:cNvPr>
          <p:cNvGraphicFramePr>
            <a:graphicFrameLocks/>
          </p:cNvGraphicFramePr>
          <p:nvPr/>
        </p:nvGraphicFramePr>
        <p:xfrm>
          <a:off x="195580" y="4208481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see who/where my team are s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make an informed decision when to come into the off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0" name="Table 7">
            <a:extLst>
              <a:ext uri="{FF2B5EF4-FFF2-40B4-BE49-F238E27FC236}">
                <a16:creationId xmlns:a16="http://schemas.microsoft.com/office/drawing/2014/main" id="{F31CFBC8-C148-222D-9116-527237E391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2721333"/>
              </p:ext>
            </p:extLst>
          </p:nvPr>
        </p:nvGraphicFramePr>
        <p:xfrm>
          <a:off x="6248403" y="1272839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mana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track booking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notice any trends with team/wider business atten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8099331-E508-AF37-EC84-CE507A4201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2620692"/>
              </p:ext>
            </p:extLst>
          </p:nvPr>
        </p:nvGraphicFramePr>
        <p:xfrm>
          <a:off x="6248403" y="2740660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mana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assign specific des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manoeuvre my team to suit the needs of the 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B7B2C83-DCAF-D8E7-57C1-CFF71A9A0C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1653784"/>
              </p:ext>
            </p:extLst>
          </p:nvPr>
        </p:nvGraphicFramePr>
        <p:xfrm>
          <a:off x="6248403" y="4208481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make reoccurring book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save time booking and have consistency throughout my da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ACA6AE1-03EB-B77C-A88B-DA882F542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775078"/>
              </p:ext>
            </p:extLst>
          </p:nvPr>
        </p:nvGraphicFramePr>
        <p:xfrm>
          <a:off x="5296218" y="1261805"/>
          <a:ext cx="647381" cy="1387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7097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1673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5884584-D59E-270C-7C61-B3DC0CD6F9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1434301"/>
              </p:ext>
            </p:extLst>
          </p:nvPr>
        </p:nvGraphicFramePr>
        <p:xfrm>
          <a:off x="5296217" y="2735143"/>
          <a:ext cx="647381" cy="1387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7097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1673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5" name="Table 13">
            <a:extLst>
              <a:ext uri="{FF2B5EF4-FFF2-40B4-BE49-F238E27FC236}">
                <a16:creationId xmlns:a16="http://schemas.microsoft.com/office/drawing/2014/main" id="{D1FE37E5-92AA-AF28-9FF6-A1ACD575D722}"/>
              </a:ext>
            </a:extLst>
          </p:cNvPr>
          <p:cNvGraphicFramePr>
            <a:graphicFrameLocks noGrp="1"/>
          </p:cNvGraphicFramePr>
          <p:nvPr/>
        </p:nvGraphicFramePr>
        <p:xfrm>
          <a:off x="5296217" y="4197447"/>
          <a:ext cx="647381" cy="1387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7097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1673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7D5B4A2E-8862-469D-CDD3-3BAD6B4AAF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100308"/>
              </p:ext>
            </p:extLst>
          </p:nvPr>
        </p:nvGraphicFramePr>
        <p:xfrm>
          <a:off x="11358785" y="1261805"/>
          <a:ext cx="647381" cy="1365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6338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01965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5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9" name="Table 13">
            <a:extLst>
              <a:ext uri="{FF2B5EF4-FFF2-40B4-BE49-F238E27FC236}">
                <a16:creationId xmlns:a16="http://schemas.microsoft.com/office/drawing/2014/main" id="{2D569E2E-2118-A87C-7CA9-84F5B87EFB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944433"/>
              </p:ext>
            </p:extLst>
          </p:nvPr>
        </p:nvGraphicFramePr>
        <p:xfrm>
          <a:off x="11365991" y="2735143"/>
          <a:ext cx="647381" cy="1365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6338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01965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20" name="Table 13">
            <a:extLst>
              <a:ext uri="{FF2B5EF4-FFF2-40B4-BE49-F238E27FC236}">
                <a16:creationId xmlns:a16="http://schemas.microsoft.com/office/drawing/2014/main" id="{B9457B40-0B40-E203-BD8D-53C8ED22BE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584316"/>
              </p:ext>
            </p:extLst>
          </p:nvPr>
        </p:nvGraphicFramePr>
        <p:xfrm>
          <a:off x="11338879" y="4208481"/>
          <a:ext cx="647381" cy="1365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6338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01965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13412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B8FBB47-FAD5-6D9F-AC89-5FEE1561265A}"/>
              </a:ext>
            </a:extLst>
          </p:cNvPr>
          <p:cNvGraphicFramePr>
            <a:graphicFrameLocks noGrp="1"/>
          </p:cNvGraphicFramePr>
          <p:nvPr>
            <p:ph idx="18"/>
            <p:extLst>
              <p:ext uri="{D42A27DB-BD31-4B8C-83A1-F6EECF244321}">
                <p14:modId xmlns:p14="http://schemas.microsoft.com/office/powerpoint/2010/main" val="1551616217"/>
              </p:ext>
            </p:extLst>
          </p:nvPr>
        </p:nvGraphicFramePr>
        <p:xfrm>
          <a:off x="195580" y="1272839"/>
          <a:ext cx="5100638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mana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highlight any colleagues who haven’t attended their book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feedback and ensure it’s not a repeated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32A3D02E-7AFD-7E6C-E191-8E63E914E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r Stories + Planning Poker </a:t>
            </a:r>
            <a:r>
              <a:rPr lang="en-GB"/>
              <a:t>Scores 3/3</a:t>
            </a:r>
            <a:endParaRPr lang="en-GB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7C851A2-B44B-73A8-ECAB-6EB778A9FE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2406389"/>
              </p:ext>
            </p:extLst>
          </p:nvPr>
        </p:nvGraphicFramePr>
        <p:xfrm>
          <a:off x="205740" y="3082103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amend my booking ti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am not wasting unused space and flexible for my ro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F5F7ECF-0E80-54EF-0252-9A65BA70C7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1907490"/>
              </p:ext>
            </p:extLst>
          </p:nvPr>
        </p:nvGraphicFramePr>
        <p:xfrm>
          <a:off x="207143" y="4544407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mana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a view of my team for the wee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save time navigating for individual colleagu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0" name="Table 7">
            <a:extLst>
              <a:ext uri="{FF2B5EF4-FFF2-40B4-BE49-F238E27FC236}">
                <a16:creationId xmlns:a16="http://schemas.microsoft.com/office/drawing/2014/main" id="{F31CFBC8-C148-222D-9116-527237E391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4549193"/>
              </p:ext>
            </p:extLst>
          </p:nvPr>
        </p:nvGraphicFramePr>
        <p:xfrm>
          <a:off x="6248403" y="1272839"/>
          <a:ext cx="510063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0638">
                  <a:extLst>
                    <a:ext uri="{9D8B030D-6E8A-4147-A177-3AD203B41FA5}">
                      <a16:colId xmlns:a16="http://schemas.microsoft.com/office/drawing/2014/main" val="32355118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As a mana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5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 want to be able to cancel book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540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So I can amend seating should a colleague call in si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092487"/>
                  </a:ext>
                </a:extLst>
              </a:tr>
            </a:tbl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ACA6AE1-03EB-B77C-A88B-DA882F542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437777"/>
              </p:ext>
            </p:extLst>
          </p:nvPr>
        </p:nvGraphicFramePr>
        <p:xfrm>
          <a:off x="5296218" y="1261804"/>
          <a:ext cx="647381" cy="16459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558607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1087312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5884584-D59E-270C-7C61-B3DC0CD6F9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317200"/>
              </p:ext>
            </p:extLst>
          </p:nvPr>
        </p:nvGraphicFramePr>
        <p:xfrm>
          <a:off x="5296218" y="3071069"/>
          <a:ext cx="647381" cy="1387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7097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1673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5" name="Table 13">
            <a:extLst>
              <a:ext uri="{FF2B5EF4-FFF2-40B4-BE49-F238E27FC236}">
                <a16:creationId xmlns:a16="http://schemas.microsoft.com/office/drawing/2014/main" id="{D1FE37E5-92AA-AF28-9FF6-A1ACD575D7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2845988"/>
              </p:ext>
            </p:extLst>
          </p:nvPr>
        </p:nvGraphicFramePr>
        <p:xfrm>
          <a:off x="5296218" y="4533372"/>
          <a:ext cx="647381" cy="13766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67230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09449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7D5B4A2E-8862-469D-CDD3-3BAD6B4AAF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127644"/>
              </p:ext>
            </p:extLst>
          </p:nvPr>
        </p:nvGraphicFramePr>
        <p:xfrm>
          <a:off x="11358785" y="1261805"/>
          <a:ext cx="647381" cy="1365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381">
                  <a:extLst>
                    <a:ext uri="{9D8B030D-6E8A-4147-A177-3AD203B41FA5}">
                      <a16:colId xmlns:a16="http://schemas.microsoft.com/office/drawing/2014/main" val="2269013736"/>
                    </a:ext>
                  </a:extLst>
                </a:gridCol>
              </a:tblGrid>
              <a:tr h="463385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co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070837"/>
                  </a:ext>
                </a:extLst>
              </a:tr>
              <a:tr h="901965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34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4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265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C39CC8E-1A80-FF00-FDA8-F07DC7B07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Plan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BDF634DF-0221-AFB6-ABF4-137CED7085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045503"/>
              </p:ext>
            </p:extLst>
          </p:nvPr>
        </p:nvGraphicFramePr>
        <p:xfrm>
          <a:off x="176575" y="2030306"/>
          <a:ext cx="11505901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02269">
                  <a:extLst>
                    <a:ext uri="{9D8B030D-6E8A-4147-A177-3AD203B41FA5}">
                      <a16:colId xmlns:a16="http://schemas.microsoft.com/office/drawing/2014/main" val="1307029797"/>
                    </a:ext>
                  </a:extLst>
                </a:gridCol>
                <a:gridCol w="595630">
                  <a:extLst>
                    <a:ext uri="{9D8B030D-6E8A-4147-A177-3AD203B41FA5}">
                      <a16:colId xmlns:a16="http://schemas.microsoft.com/office/drawing/2014/main" val="2684325828"/>
                    </a:ext>
                  </a:extLst>
                </a:gridCol>
                <a:gridCol w="594678">
                  <a:extLst>
                    <a:ext uri="{9D8B030D-6E8A-4147-A177-3AD203B41FA5}">
                      <a16:colId xmlns:a16="http://schemas.microsoft.com/office/drawing/2014/main" val="129536776"/>
                    </a:ext>
                  </a:extLst>
                </a:gridCol>
                <a:gridCol w="614680">
                  <a:extLst>
                    <a:ext uri="{9D8B030D-6E8A-4147-A177-3AD203B41FA5}">
                      <a16:colId xmlns:a16="http://schemas.microsoft.com/office/drawing/2014/main" val="1838651773"/>
                    </a:ext>
                  </a:extLst>
                </a:gridCol>
                <a:gridCol w="582930">
                  <a:extLst>
                    <a:ext uri="{9D8B030D-6E8A-4147-A177-3AD203B41FA5}">
                      <a16:colId xmlns:a16="http://schemas.microsoft.com/office/drawing/2014/main" val="3495496570"/>
                    </a:ext>
                  </a:extLst>
                </a:gridCol>
                <a:gridCol w="643255">
                  <a:extLst>
                    <a:ext uri="{9D8B030D-6E8A-4147-A177-3AD203B41FA5}">
                      <a16:colId xmlns:a16="http://schemas.microsoft.com/office/drawing/2014/main" val="4289071706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1289088792"/>
                    </a:ext>
                  </a:extLst>
                </a:gridCol>
                <a:gridCol w="540068">
                  <a:extLst>
                    <a:ext uri="{9D8B030D-6E8A-4147-A177-3AD203B41FA5}">
                      <a16:colId xmlns:a16="http://schemas.microsoft.com/office/drawing/2014/main" val="1574365480"/>
                    </a:ext>
                  </a:extLst>
                </a:gridCol>
                <a:gridCol w="613093">
                  <a:extLst>
                    <a:ext uri="{9D8B030D-6E8A-4147-A177-3AD203B41FA5}">
                      <a16:colId xmlns:a16="http://schemas.microsoft.com/office/drawing/2014/main" val="3721090963"/>
                    </a:ext>
                  </a:extLst>
                </a:gridCol>
                <a:gridCol w="606743">
                  <a:extLst>
                    <a:ext uri="{9D8B030D-6E8A-4147-A177-3AD203B41FA5}">
                      <a16:colId xmlns:a16="http://schemas.microsoft.com/office/drawing/2014/main" val="1876203111"/>
                    </a:ext>
                  </a:extLst>
                </a:gridCol>
                <a:gridCol w="575882">
                  <a:extLst>
                    <a:ext uri="{9D8B030D-6E8A-4147-A177-3AD203B41FA5}">
                      <a16:colId xmlns:a16="http://schemas.microsoft.com/office/drawing/2014/main" val="3174193149"/>
                    </a:ext>
                  </a:extLst>
                </a:gridCol>
                <a:gridCol w="625539">
                  <a:extLst>
                    <a:ext uri="{9D8B030D-6E8A-4147-A177-3AD203B41FA5}">
                      <a16:colId xmlns:a16="http://schemas.microsoft.com/office/drawing/2014/main" val="623541712"/>
                    </a:ext>
                  </a:extLst>
                </a:gridCol>
                <a:gridCol w="705979">
                  <a:extLst>
                    <a:ext uri="{9D8B030D-6E8A-4147-A177-3AD203B41FA5}">
                      <a16:colId xmlns:a16="http://schemas.microsoft.com/office/drawing/2014/main" val="1943585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a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J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e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p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Ju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Ju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u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O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e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7076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1. Planning and scoping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249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2. Risk discussions &amp; Sign 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0526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3. SLT awareness &amp; Sign Off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531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4. First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14825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5. Release to 3 te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77280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6. Release To Sheffield Offic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1179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7 Release To York Off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3357416"/>
                  </a:ext>
                </a:extLst>
              </a:tr>
            </a:tbl>
          </a:graphicData>
        </a:graphic>
      </p:graphicFrame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73F9B84-BFF9-5FC9-EB9F-FFBFB11A008D}"/>
              </a:ext>
            </a:extLst>
          </p:cNvPr>
          <p:cNvSpPr/>
          <p:nvPr/>
        </p:nvSpPr>
        <p:spPr>
          <a:xfrm>
            <a:off x="4425677" y="2438400"/>
            <a:ext cx="853440" cy="28448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92919CF-5DAB-A981-CCF9-5C61933B2E1E}"/>
              </a:ext>
            </a:extLst>
          </p:cNvPr>
          <p:cNvSpPr/>
          <p:nvPr/>
        </p:nvSpPr>
        <p:spPr>
          <a:xfrm>
            <a:off x="4578077" y="2825026"/>
            <a:ext cx="853440" cy="28448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3A9D52B-8CC2-0C02-1AAF-0EA04E866260}"/>
              </a:ext>
            </a:extLst>
          </p:cNvPr>
          <p:cNvSpPr/>
          <p:nvPr/>
        </p:nvSpPr>
        <p:spPr>
          <a:xfrm>
            <a:off x="5279117" y="3168772"/>
            <a:ext cx="853440" cy="28448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DD5EED3-F23F-9DAC-3004-EBD80E4E3446}"/>
              </a:ext>
            </a:extLst>
          </p:cNvPr>
          <p:cNvSpPr/>
          <p:nvPr/>
        </p:nvSpPr>
        <p:spPr>
          <a:xfrm>
            <a:off x="6132557" y="3561925"/>
            <a:ext cx="2326640" cy="28448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DFF459C-3FB7-A44B-50D5-2EBA816DB763}"/>
              </a:ext>
            </a:extLst>
          </p:cNvPr>
          <p:cNvSpPr/>
          <p:nvPr/>
        </p:nvSpPr>
        <p:spPr>
          <a:xfrm>
            <a:off x="8459197" y="3955077"/>
            <a:ext cx="701040" cy="229445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E295760-2EC6-9F34-7E6F-0542023D9DEE}"/>
              </a:ext>
            </a:extLst>
          </p:cNvPr>
          <p:cNvSpPr/>
          <p:nvPr/>
        </p:nvSpPr>
        <p:spPr>
          <a:xfrm>
            <a:off x="9160237" y="4293194"/>
            <a:ext cx="1198880" cy="229445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771A48B-C6E6-29F9-00FD-FCC53F92700B}"/>
              </a:ext>
            </a:extLst>
          </p:cNvPr>
          <p:cNvSpPr/>
          <p:nvPr/>
        </p:nvSpPr>
        <p:spPr>
          <a:xfrm>
            <a:off x="10359117" y="4658829"/>
            <a:ext cx="1198880" cy="229445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56603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10989A7-4037-404A-800B-56CABE860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188" y="0"/>
            <a:ext cx="11435335" cy="1080000"/>
          </a:xfrm>
        </p:spPr>
        <p:txBody>
          <a:bodyPr/>
          <a:lstStyle/>
          <a:p>
            <a:r>
              <a:rPr lang="en-GB" dirty="0"/>
              <a:t>The Problem – Office Attendanc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6B13CC3-246A-464C-96BE-47AAA0855DBB}"/>
              </a:ext>
            </a:extLst>
          </p:cNvPr>
          <p:cNvCxnSpPr/>
          <p:nvPr/>
        </p:nvCxnSpPr>
        <p:spPr>
          <a:xfrm>
            <a:off x="-1" y="6566259"/>
            <a:ext cx="1219199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35E5642-2A37-411A-A4C1-6A34BF381134}"/>
              </a:ext>
            </a:extLst>
          </p:cNvPr>
          <p:cNvCxnSpPr/>
          <p:nvPr/>
        </p:nvCxnSpPr>
        <p:spPr>
          <a:xfrm>
            <a:off x="-1" y="6576361"/>
            <a:ext cx="1219199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3C139C9F-E04D-F084-3CE1-DEB04C69AE61}"/>
              </a:ext>
            </a:extLst>
          </p:cNvPr>
          <p:cNvSpPr txBox="1"/>
          <p:nvPr/>
        </p:nvSpPr>
        <p:spPr>
          <a:xfrm>
            <a:off x="0" y="1926486"/>
            <a:ext cx="611799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dirty="0"/>
              <a:t>Since the Covid pandemic and the working from home changes, there has been a big push to get colleagues back into the office. There are currently 2 days mandated in the office a week and from the feedback from colleagues, they don’t like not knowing where to sit, or which colleagues are in that day. </a:t>
            </a:r>
          </a:p>
          <a:p>
            <a:pPr algn="ctr"/>
            <a:endParaRPr lang="en-GB" sz="1800" dirty="0"/>
          </a:p>
          <a:p>
            <a:pPr algn="ctr"/>
            <a:r>
              <a:rPr lang="en-GB" sz="1800" dirty="0"/>
              <a:t>My proposal is to create a desk management app where colleagues can login from home on their personal devices and book a desk and have a view of the colleagues in the office that day.</a:t>
            </a:r>
            <a:endParaRPr lang="en-GB" sz="1050" dirty="0"/>
          </a:p>
        </p:txBody>
      </p:sp>
      <p:pic>
        <p:nvPicPr>
          <p:cNvPr id="1028" name="Picture 4" descr="How has the COVID-19 pandemic changed the future of work?">
            <a:extLst>
              <a:ext uri="{FF2B5EF4-FFF2-40B4-BE49-F238E27FC236}">
                <a16:creationId xmlns:a16="http://schemas.microsoft.com/office/drawing/2014/main" id="{452A5DC9-3634-EAD1-173A-70F021048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4494" y="1806292"/>
            <a:ext cx="5248029" cy="2997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1066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E868A79-7F01-4AA4-8D20-6D65A1746CC2}"/>
              </a:ext>
            </a:extLst>
          </p:cNvPr>
          <p:cNvSpPr/>
          <p:nvPr/>
        </p:nvSpPr>
        <p:spPr>
          <a:xfrm>
            <a:off x="6066593" y="1071065"/>
            <a:ext cx="6120482" cy="54980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6B13CC3-246A-464C-96BE-47AAA0855DBB}"/>
              </a:ext>
            </a:extLst>
          </p:cNvPr>
          <p:cNvCxnSpPr/>
          <p:nvPr/>
        </p:nvCxnSpPr>
        <p:spPr>
          <a:xfrm>
            <a:off x="-1" y="6566259"/>
            <a:ext cx="1219199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5">
            <a:extLst>
              <a:ext uri="{FF2B5EF4-FFF2-40B4-BE49-F238E27FC236}">
                <a16:creationId xmlns:a16="http://schemas.microsoft.com/office/drawing/2014/main" id="{8F059EAB-0FF9-45F6-B042-F4C4720EFF08}"/>
              </a:ext>
            </a:extLst>
          </p:cNvPr>
          <p:cNvSpPr txBox="1">
            <a:spLocks/>
          </p:cNvSpPr>
          <p:nvPr/>
        </p:nvSpPr>
        <p:spPr>
          <a:xfrm>
            <a:off x="348926" y="-5102"/>
            <a:ext cx="11435335" cy="1080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buNone/>
              <a:defRPr sz="3400" b="1" i="0" kern="1200" baseline="0">
                <a:solidFill>
                  <a:schemeClr val="bg1"/>
                </a:solidFill>
                <a:latin typeface="Source Sans Pro" panose="020B0503030403020204" pitchFamily="34" charset="77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8018FC1-E1E7-4B4D-8EED-D0734FA24163}"/>
              </a:ext>
            </a:extLst>
          </p:cNvPr>
          <p:cNvCxnSpPr>
            <a:cxnSpLocks/>
          </p:cNvCxnSpPr>
          <p:nvPr/>
        </p:nvCxnSpPr>
        <p:spPr>
          <a:xfrm flipV="1">
            <a:off x="-2" y="1052861"/>
            <a:ext cx="12191999" cy="21079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5">
            <a:extLst>
              <a:ext uri="{FF2B5EF4-FFF2-40B4-BE49-F238E27FC236}">
                <a16:creationId xmlns:a16="http://schemas.microsoft.com/office/drawing/2014/main" id="{88EF6DBF-F8FC-E66D-ACC4-C0D6119CD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188" y="0"/>
            <a:ext cx="11435335" cy="1080000"/>
          </a:xfrm>
        </p:spPr>
        <p:txBody>
          <a:bodyPr/>
          <a:lstStyle/>
          <a:p>
            <a:r>
              <a:rPr lang="en-GB" dirty="0"/>
              <a:t>Stakeholder Management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5999EBD-30C8-C3BB-5FD4-553976DF0A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189567"/>
              </p:ext>
            </p:extLst>
          </p:nvPr>
        </p:nvGraphicFramePr>
        <p:xfrm>
          <a:off x="317187" y="1228365"/>
          <a:ext cx="11435336" cy="537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8943">
                  <a:extLst>
                    <a:ext uri="{9D8B030D-6E8A-4147-A177-3AD203B41FA5}">
                      <a16:colId xmlns:a16="http://schemas.microsoft.com/office/drawing/2014/main" val="2682619979"/>
                    </a:ext>
                  </a:extLst>
                </a:gridCol>
                <a:gridCol w="2168283">
                  <a:extLst>
                    <a:ext uri="{9D8B030D-6E8A-4147-A177-3AD203B41FA5}">
                      <a16:colId xmlns:a16="http://schemas.microsoft.com/office/drawing/2014/main" val="927370913"/>
                    </a:ext>
                  </a:extLst>
                </a:gridCol>
                <a:gridCol w="2319120">
                  <a:extLst>
                    <a:ext uri="{9D8B030D-6E8A-4147-A177-3AD203B41FA5}">
                      <a16:colId xmlns:a16="http://schemas.microsoft.com/office/drawing/2014/main" val="722864005"/>
                    </a:ext>
                  </a:extLst>
                </a:gridCol>
                <a:gridCol w="2074010">
                  <a:extLst>
                    <a:ext uri="{9D8B030D-6E8A-4147-A177-3AD203B41FA5}">
                      <a16:colId xmlns:a16="http://schemas.microsoft.com/office/drawing/2014/main" val="1130130709"/>
                    </a:ext>
                  </a:extLst>
                </a:gridCol>
                <a:gridCol w="3374980">
                  <a:extLst>
                    <a:ext uri="{9D8B030D-6E8A-4147-A177-3AD203B41FA5}">
                      <a16:colId xmlns:a16="http://schemas.microsoft.com/office/drawing/2014/main" val="2620985058"/>
                    </a:ext>
                  </a:extLst>
                </a:gridCol>
              </a:tblGrid>
              <a:tr h="303181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Stakehol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Level Of Eng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rio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ction Poi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542991"/>
                  </a:ext>
                </a:extLst>
              </a:tr>
              <a:tr h="1038716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Operations Managers</a:t>
                      </a:r>
                    </a:p>
                    <a:p>
                      <a:pPr algn="ctr"/>
                      <a:endParaRPr lang="en-GB" sz="1400" dirty="0"/>
                    </a:p>
                    <a:p>
                      <a:pPr algn="ctr"/>
                      <a:endParaRPr lang="en-GB" sz="1400" dirty="0"/>
                    </a:p>
                    <a:p>
                      <a:pPr algn="ctr"/>
                      <a:endParaRPr lang="en-GB" sz="1400" dirty="0"/>
                    </a:p>
                    <a:p>
                      <a:pPr algn="ctr"/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Supportive</a:t>
                      </a:r>
                    </a:p>
                    <a:p>
                      <a:pPr algn="ctr"/>
                      <a:endParaRPr lang="en-GB" sz="1400" dirty="0"/>
                    </a:p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-Engage with department to get requirements</a:t>
                      </a:r>
                    </a:p>
                    <a:p>
                      <a:pPr algn="ctr"/>
                      <a:r>
                        <a:rPr lang="en-GB" sz="1400" dirty="0"/>
                        <a:t>-Engage with department to workout office seating structur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3899521"/>
                  </a:ext>
                </a:extLst>
              </a:tr>
              <a:tr h="936307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Teamleader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Suppor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-Engage with team on preferred working days</a:t>
                      </a:r>
                    </a:p>
                    <a:p>
                      <a:pPr algn="ctr"/>
                      <a:endParaRPr lang="en-GB" sz="1400" dirty="0"/>
                    </a:p>
                    <a:p>
                      <a:pPr algn="ctr"/>
                      <a:r>
                        <a:rPr lang="en-GB" sz="1400" dirty="0"/>
                        <a:t>-Engage with team on WFH/Office day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904542"/>
                  </a:ext>
                </a:extLst>
              </a:tr>
              <a:tr h="760749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Senior</a:t>
                      </a:r>
                    </a:p>
                    <a:p>
                      <a:pPr algn="ctr"/>
                      <a:r>
                        <a:rPr lang="en-GB" sz="1400" dirty="0"/>
                        <a:t> Leadership Team</a:t>
                      </a:r>
                    </a:p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Eng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-Engage with SLT regarding current data WFH/Office to workou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3096839"/>
                  </a:ext>
                </a:extLst>
              </a:tr>
              <a:tr h="1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Human Resources</a:t>
                      </a:r>
                    </a:p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Supporting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-Provide data for company to workout a login system </a:t>
                      </a:r>
                    </a:p>
                    <a:p>
                      <a:pPr algn="ctr"/>
                      <a:r>
                        <a:rPr lang="en-GB" sz="1400" dirty="0"/>
                        <a:t>-Provide number of colleagues for scope on database required to store names</a:t>
                      </a:r>
                    </a:p>
                    <a:p>
                      <a:pPr algn="ctr"/>
                      <a:r>
                        <a:rPr lang="en-GB" sz="1400" dirty="0"/>
                        <a:t>-Workout a plan to update the system with joiners/leav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2491295"/>
                  </a:ext>
                </a:extLst>
              </a:tr>
              <a:tr h="4125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Team</a:t>
                      </a:r>
                      <a:endParaRPr lang="en-GB" sz="900" dirty="0"/>
                    </a:p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Supporting Sign 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Week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To ensure complicit with data protection/business ri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28548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9566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1CFB5D-B6DE-D84D-7AFA-4373E9E10E92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4" y="2187018"/>
            <a:ext cx="5101084" cy="3942319"/>
          </a:xfrm>
        </p:spPr>
        <p:txBody>
          <a:bodyPr/>
          <a:lstStyle/>
          <a:p>
            <a:r>
              <a:rPr lang="en-GB" dirty="0"/>
              <a:t>60% said they preferred working from home</a:t>
            </a:r>
          </a:p>
          <a:p>
            <a:r>
              <a:rPr lang="en-GB" dirty="0"/>
              <a:t>75% said the biggest challenge when working from the office is “Getting a desk in the office”</a:t>
            </a:r>
          </a:p>
          <a:p>
            <a:r>
              <a:rPr lang="en-GB" dirty="0"/>
              <a:t>44% said the biggest challenge when working from the office is “Knowing when other people are in”</a:t>
            </a:r>
          </a:p>
          <a:p>
            <a:r>
              <a:rPr lang="en-GB" dirty="0"/>
              <a:t>84% said the biggest challenge when working from home is isolation </a:t>
            </a:r>
          </a:p>
          <a:p>
            <a:r>
              <a:rPr lang="en-GB" dirty="0"/>
              <a:t>54% said the biggest challenge when working from home was Home Disturbances </a:t>
            </a:r>
          </a:p>
          <a:p>
            <a:r>
              <a:rPr lang="en-GB" dirty="0"/>
              <a:t>Working from the office had 10% describing no challenges vs working from home only had 3% with no challenges </a:t>
            </a:r>
          </a:p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51D077-3DEA-047C-3C03-46FBC6DCF3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701" y="1106426"/>
            <a:ext cx="5101084" cy="521179"/>
          </a:xfrm>
        </p:spPr>
        <p:txBody>
          <a:bodyPr/>
          <a:lstStyle/>
          <a:p>
            <a:r>
              <a:rPr lang="en-GB" dirty="0"/>
              <a:t>We asked 1000 colleagues on their thoughts on working from home vs in the office</a:t>
            </a:r>
          </a:p>
          <a:p>
            <a:r>
              <a:rPr lang="en-GB" sz="1100" dirty="0">
                <a:solidFill>
                  <a:schemeClr val="accent3"/>
                </a:solidFill>
              </a:rPr>
              <a:t>https://forms.office.com/Pages/ResponsePage.aspx?id=LdDQQoZiXkaZmzEAYjHvscBYfkG65fVOoYtB54GnjDJUN1JKT1VaNFNTSDhGSUU4V1MxS1Y4S1VZVi4u</a:t>
            </a:r>
          </a:p>
          <a:p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1625F69-DB24-2B25-A745-1A78FF35E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our colleagues are feel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84DA51A-878F-1EA2-965F-C346DFD96A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8880" y="1168986"/>
            <a:ext cx="3598823" cy="523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291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95F309-B102-2908-2619-A907FB80D523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dirty="0"/>
              <a:t>To book a specific desk within the office for a certain date/time</a:t>
            </a:r>
          </a:p>
          <a:p>
            <a:r>
              <a:rPr lang="en-GB" dirty="0"/>
              <a:t>To see what days people are booked in for</a:t>
            </a:r>
          </a:p>
          <a:p>
            <a:r>
              <a:rPr lang="en-GB" dirty="0"/>
              <a:t>To have overview of the department attendance for any given day</a:t>
            </a:r>
          </a:p>
          <a:p>
            <a:r>
              <a:rPr lang="en-GB" dirty="0"/>
              <a:t>To keep track of their personal office attendance %</a:t>
            </a:r>
          </a:p>
          <a:p>
            <a:r>
              <a:rPr lang="en-GB" dirty="0"/>
              <a:t>To navigate the building from one desk to another, satnav style</a:t>
            </a:r>
          </a:p>
          <a:p>
            <a:r>
              <a:rPr lang="en-GB" dirty="0"/>
              <a:t>To have oversight of offices nationwide for away days</a:t>
            </a:r>
          </a:p>
          <a:p>
            <a:r>
              <a:rPr lang="en-GB" dirty="0"/>
              <a:t>To be able to book for a period of time so they can have consistency with their working da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A02592-2BAA-8819-916C-09C6DAE529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9524" y="1263507"/>
            <a:ext cx="5419936" cy="521179"/>
          </a:xfrm>
        </p:spPr>
        <p:txBody>
          <a:bodyPr/>
          <a:lstStyle/>
          <a:p>
            <a:r>
              <a:rPr lang="en-GB" dirty="0"/>
              <a:t>Our colleagues want to be able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D83900C-73B5-8CE0-3DE7-E6A018E59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ocus Group Initial Requirements</a:t>
            </a:r>
          </a:p>
        </p:txBody>
      </p:sp>
      <p:pic>
        <p:nvPicPr>
          <p:cNvPr id="2050" name="Picture 2" descr="Tips for Conducting a Successful Focus Group - Association Adviser">
            <a:extLst>
              <a:ext uri="{FF2B5EF4-FFF2-40B4-BE49-F238E27FC236}">
                <a16:creationId xmlns:a16="http://schemas.microsoft.com/office/drawing/2014/main" id="{E90FFD56-2096-5D68-8771-B7EE2AD211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6757" y="1524096"/>
            <a:ext cx="5745541" cy="326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8733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DC2C2F-3D11-264C-E55D-DB5F0A580F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772" y="1458821"/>
            <a:ext cx="2417389" cy="521179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GB" dirty="0"/>
              <a:t>Must Hav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A0C9DB-AEC8-0141-651E-AAC507DCE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SCoW</a:t>
            </a:r>
            <a:r>
              <a:rPr lang="en-GB" dirty="0"/>
              <a:t> Prioritisa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6ECCAC1-7358-DB94-FFE9-B4A7E493864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23773" y="1980000"/>
            <a:ext cx="2417389" cy="4149338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en-GB" dirty="0"/>
              <a:t>User Login</a:t>
            </a:r>
          </a:p>
          <a:p>
            <a:r>
              <a:rPr lang="en-GB" dirty="0"/>
              <a:t>Desk selection</a:t>
            </a:r>
          </a:p>
          <a:p>
            <a:r>
              <a:rPr lang="en-GB" dirty="0"/>
              <a:t>Feedback Button</a:t>
            </a:r>
          </a:p>
          <a:p>
            <a:r>
              <a:rPr lang="en-GB" dirty="0"/>
              <a:t>Accessibility feature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5A57B18-71B4-46DB-1C34-3BA16B8AB586}"/>
              </a:ext>
            </a:extLst>
          </p:cNvPr>
          <p:cNvSpPr txBox="1">
            <a:spLocks/>
          </p:cNvSpPr>
          <p:nvPr/>
        </p:nvSpPr>
        <p:spPr>
          <a:xfrm>
            <a:off x="3388892" y="1458820"/>
            <a:ext cx="2417389" cy="521179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2000" b="1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Should Hav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9D89218-FE2A-B5D9-A563-D50833D89FB0}"/>
              </a:ext>
            </a:extLst>
          </p:cNvPr>
          <p:cNvSpPr txBox="1">
            <a:spLocks/>
          </p:cNvSpPr>
          <p:nvPr/>
        </p:nvSpPr>
        <p:spPr>
          <a:xfrm>
            <a:off x="6528332" y="1458819"/>
            <a:ext cx="2417389" cy="521179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2000" b="1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Could Hav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74FBD1-3180-5044-C33B-047B8EE323D8}"/>
              </a:ext>
            </a:extLst>
          </p:cNvPr>
          <p:cNvSpPr txBox="1">
            <a:spLocks/>
          </p:cNvSpPr>
          <p:nvPr/>
        </p:nvSpPr>
        <p:spPr>
          <a:xfrm>
            <a:off x="9250838" y="1458818"/>
            <a:ext cx="2417389" cy="521179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2000" b="1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Will Not Have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46E50AE-9967-0E34-D903-EECE198AD9BC}"/>
              </a:ext>
            </a:extLst>
          </p:cNvPr>
          <p:cNvSpPr txBox="1">
            <a:spLocks/>
          </p:cNvSpPr>
          <p:nvPr/>
        </p:nvSpPr>
        <p:spPr>
          <a:xfrm>
            <a:off x="3388891" y="1979997"/>
            <a:ext cx="2417389" cy="414933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45720" rIns="0" bIns="45720" rtlCol="0">
            <a:noAutofit/>
          </a:bodyPr>
          <a:lstStyle>
            <a:lvl1pPr marL="230400" indent="-228600" algn="l" defTabSz="3600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432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648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64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80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ffice Map Overview</a:t>
            </a:r>
          </a:p>
          <a:p>
            <a:r>
              <a:rPr lang="en-GB" dirty="0"/>
              <a:t>Personal Attendance %</a:t>
            </a:r>
          </a:p>
          <a:p>
            <a:r>
              <a:rPr lang="en-GB" dirty="0" err="1"/>
              <a:t>Teamleader</a:t>
            </a:r>
            <a:r>
              <a:rPr lang="en-GB" dirty="0"/>
              <a:t> overview of team attendance</a:t>
            </a:r>
          </a:p>
          <a:p>
            <a:r>
              <a:rPr lang="en-GB" dirty="0"/>
              <a:t>Breakdown for SLT to see office attendance</a:t>
            </a:r>
          </a:p>
          <a:p>
            <a:r>
              <a:rPr lang="en-GB" dirty="0"/>
              <a:t>Delete booking due to sickness/no longer attending</a:t>
            </a:r>
          </a:p>
          <a:p>
            <a:r>
              <a:rPr lang="en-GB" dirty="0"/>
              <a:t>Map Zoom</a:t>
            </a: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D17CDA06-6905-D22C-E8AE-1EAB1E0A34ED}"/>
              </a:ext>
            </a:extLst>
          </p:cNvPr>
          <p:cNvSpPr txBox="1">
            <a:spLocks/>
          </p:cNvSpPr>
          <p:nvPr/>
        </p:nvSpPr>
        <p:spPr>
          <a:xfrm>
            <a:off x="6528331" y="1979997"/>
            <a:ext cx="2417389" cy="414933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45720" rIns="0" bIns="45720" rtlCol="0">
            <a:noAutofit/>
          </a:bodyPr>
          <a:lstStyle>
            <a:lvl1pPr marL="230400" indent="-228600" algn="l" defTabSz="3600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432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648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64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80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eam Booking</a:t>
            </a:r>
          </a:p>
          <a:p>
            <a:r>
              <a:rPr lang="en-GB" dirty="0"/>
              <a:t>Calendar For Office Events</a:t>
            </a:r>
          </a:p>
          <a:p>
            <a:r>
              <a:rPr lang="en-GB" dirty="0"/>
              <a:t>Live feed of any traffic disturbances/travel delays</a:t>
            </a:r>
          </a:p>
          <a:p>
            <a:r>
              <a:rPr lang="en-GB" dirty="0"/>
              <a:t>Change seat when already booked </a:t>
            </a:r>
          </a:p>
          <a:p>
            <a:r>
              <a:rPr lang="en-GB" dirty="0" err="1"/>
              <a:t>Teamleader</a:t>
            </a:r>
            <a:r>
              <a:rPr lang="en-GB" dirty="0"/>
              <a:t> Email Confirmation Receipt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B874CA1E-8CA0-368D-122B-561FA0AA7D2A}"/>
              </a:ext>
            </a:extLst>
          </p:cNvPr>
          <p:cNvSpPr txBox="1">
            <a:spLocks/>
          </p:cNvSpPr>
          <p:nvPr/>
        </p:nvSpPr>
        <p:spPr>
          <a:xfrm>
            <a:off x="9250837" y="1979997"/>
            <a:ext cx="2417389" cy="414933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45720" rIns="0" bIns="45720" rtlCol="0">
            <a:noAutofit/>
          </a:bodyPr>
          <a:lstStyle>
            <a:lvl1pPr marL="230400" indent="-228600" algn="l" defTabSz="3600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432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648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64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80000" indent="-21600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atNav</a:t>
            </a:r>
            <a:r>
              <a:rPr lang="en-GB" dirty="0"/>
              <a:t> capability</a:t>
            </a:r>
          </a:p>
          <a:p>
            <a:r>
              <a:rPr lang="en-GB" dirty="0"/>
              <a:t>Consent to book a desk on someone else’s behalf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0147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200AA0-F265-E533-9DB3-21057923A3C8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en-GB" sz="2000" dirty="0"/>
              <a:t>Security encryption to protect colleague data</a:t>
            </a:r>
          </a:p>
          <a:p>
            <a:r>
              <a:rPr lang="en-GB" sz="2000" dirty="0"/>
              <a:t>Button selection to navigate the page</a:t>
            </a:r>
          </a:p>
          <a:p>
            <a:r>
              <a:rPr lang="en-GB" sz="2000" dirty="0"/>
              <a:t>Floor level selection </a:t>
            </a:r>
          </a:p>
          <a:p>
            <a:r>
              <a:rPr lang="en-GB" sz="2000" dirty="0"/>
              <a:t>Different Zones On Each Floor Level</a:t>
            </a:r>
          </a:p>
          <a:p>
            <a:r>
              <a:rPr lang="en-GB" sz="2000" dirty="0"/>
              <a:t>Font Change ability, voice assistant </a:t>
            </a:r>
          </a:p>
          <a:p>
            <a:r>
              <a:rPr lang="en-GB" sz="2000" dirty="0"/>
              <a:t>Chrome/Edge/Safari (mobile)</a:t>
            </a:r>
          </a:p>
          <a:p>
            <a:r>
              <a:rPr lang="en-GB" sz="2000" dirty="0"/>
              <a:t>User friendly interface for ease of booking</a:t>
            </a:r>
          </a:p>
          <a:p>
            <a:r>
              <a:rPr lang="en-GB" sz="2000" dirty="0"/>
              <a:t>Use of calendars to select dates</a:t>
            </a:r>
          </a:p>
          <a:p>
            <a:r>
              <a:rPr lang="en-GB" sz="2000" dirty="0"/>
              <a:t>Scalability to accommodate business growth </a:t>
            </a:r>
          </a:p>
          <a:p>
            <a:endParaRPr lang="en-GB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0A8756-62B9-3AD6-2348-1F2A917EFC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GB" dirty="0"/>
              <a:t>Non-Functional Requirem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11ADFB-C464-851B-DBBD-A6F6C6CA97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GB" dirty="0"/>
              <a:t>Functional Requirement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8E7640A-8D77-EB20-4B68-32B7DB8AC4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ftware Requiremen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0A72CC-DDDD-2FFF-F4F8-B6F3E7E73F10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sz="2000" dirty="0"/>
              <a:t>The app must be branded and reflect Aviva’s colours/format</a:t>
            </a:r>
          </a:p>
          <a:p>
            <a:r>
              <a:rPr lang="en-GB" sz="2000" dirty="0"/>
              <a:t>Desk selection in real time </a:t>
            </a:r>
          </a:p>
          <a:p>
            <a:r>
              <a:rPr lang="en-GB" sz="2000" dirty="0"/>
              <a:t>Block selection on desk in use</a:t>
            </a:r>
          </a:p>
          <a:p>
            <a:r>
              <a:rPr lang="en-GB" sz="2000" dirty="0"/>
              <a:t>Accessibility Features</a:t>
            </a:r>
          </a:p>
          <a:p>
            <a:r>
              <a:rPr lang="en-GB" sz="2000" dirty="0"/>
              <a:t>Internet Browser </a:t>
            </a:r>
          </a:p>
          <a:p>
            <a:r>
              <a:rPr lang="en-GB" sz="2000" dirty="0"/>
              <a:t>Managers should have an overview of their team </a:t>
            </a:r>
          </a:p>
          <a:p>
            <a:r>
              <a:rPr lang="en-GB" sz="2000" dirty="0"/>
              <a:t>Reporting functionality</a:t>
            </a:r>
          </a:p>
          <a:p>
            <a:r>
              <a:rPr lang="en-GB" sz="2000" dirty="0"/>
              <a:t>Search for desks based on location/date/availability </a:t>
            </a:r>
          </a:p>
        </p:txBody>
      </p:sp>
    </p:spTree>
    <p:extLst>
      <p:ext uri="{BB962C8B-B14F-4D97-AF65-F5344CB8AC3E}">
        <p14:creationId xmlns:p14="http://schemas.microsoft.com/office/powerpoint/2010/main" val="1737553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467E6-B03F-73F5-E7EF-82777DE3F2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1997" y="1328032"/>
            <a:ext cx="5101084" cy="521179"/>
          </a:xfrm>
        </p:spPr>
        <p:txBody>
          <a:bodyPr/>
          <a:lstStyle/>
          <a:p>
            <a:pPr algn="ctr"/>
            <a:r>
              <a:rPr lang="en-GB" dirty="0"/>
              <a:t>Login Scree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12402E-1C9B-6A4F-818E-4C3B0CFA8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Wireframes – 1/4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A654E01-E80C-B386-40F9-381188B9F765}"/>
              </a:ext>
            </a:extLst>
          </p:cNvPr>
          <p:cNvSpPr/>
          <p:nvPr/>
        </p:nvSpPr>
        <p:spPr>
          <a:xfrm>
            <a:off x="153850" y="1798410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F4F3FF2-97D2-95A8-C380-EBCCBFD9C52F}"/>
              </a:ext>
            </a:extLst>
          </p:cNvPr>
          <p:cNvSpPr/>
          <p:nvPr/>
        </p:nvSpPr>
        <p:spPr>
          <a:xfrm>
            <a:off x="428170" y="2031791"/>
            <a:ext cx="5238778" cy="8737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Desk Book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A4F8D78-EFD9-288A-83FB-AA54F4125C86}"/>
              </a:ext>
            </a:extLst>
          </p:cNvPr>
          <p:cNvSpPr/>
          <p:nvPr/>
        </p:nvSpPr>
        <p:spPr>
          <a:xfrm>
            <a:off x="451737" y="4809309"/>
            <a:ext cx="5266069" cy="30066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Forgotten Passwor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893283F-3CAB-5D0E-B151-B06D17183AAA}"/>
              </a:ext>
            </a:extLst>
          </p:cNvPr>
          <p:cNvSpPr/>
          <p:nvPr/>
        </p:nvSpPr>
        <p:spPr>
          <a:xfrm>
            <a:off x="451737" y="3093661"/>
            <a:ext cx="2567234" cy="72629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dk1"/>
                </a:solidFill>
              </a:rPr>
              <a:t>Usernam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067481E-5F47-5E8F-2955-85EFC4FE3D7F}"/>
              </a:ext>
            </a:extLst>
          </p:cNvPr>
          <p:cNvSpPr/>
          <p:nvPr/>
        </p:nvSpPr>
        <p:spPr>
          <a:xfrm>
            <a:off x="451737" y="3967420"/>
            <a:ext cx="2590802" cy="72629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dk1"/>
                </a:solidFill>
              </a:rPr>
              <a:t>Password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B6BDDF5-F993-556B-7910-C5996DA4FC88}"/>
              </a:ext>
            </a:extLst>
          </p:cNvPr>
          <p:cNvSpPr/>
          <p:nvPr/>
        </p:nvSpPr>
        <p:spPr>
          <a:xfrm>
            <a:off x="451737" y="5199203"/>
            <a:ext cx="5279955" cy="27762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Back To Hom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A2C58F-3924-54C1-194F-B2CBD810791E}"/>
              </a:ext>
            </a:extLst>
          </p:cNvPr>
          <p:cNvSpPr/>
          <p:nvPr/>
        </p:nvSpPr>
        <p:spPr>
          <a:xfrm>
            <a:off x="3002278" y="3098291"/>
            <a:ext cx="2702121" cy="72629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dk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7E54696-20F3-F2AB-35EB-44D8637250CA}"/>
              </a:ext>
            </a:extLst>
          </p:cNvPr>
          <p:cNvSpPr/>
          <p:nvPr/>
        </p:nvSpPr>
        <p:spPr>
          <a:xfrm>
            <a:off x="3002278" y="3970035"/>
            <a:ext cx="2715527" cy="72629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dk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4FD21CB-C7E4-7ED3-4017-ED0B71861370}"/>
              </a:ext>
            </a:extLst>
          </p:cNvPr>
          <p:cNvSpPr txBox="1">
            <a:spLocks/>
          </p:cNvSpPr>
          <p:nvPr/>
        </p:nvSpPr>
        <p:spPr>
          <a:xfrm>
            <a:off x="6581392" y="1277231"/>
            <a:ext cx="5101084" cy="52117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2000" b="1" kern="1200" baseline="0">
                <a:solidFill>
                  <a:schemeClr val="tx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Forgot Password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EDD0642-1473-D0D1-22B5-4156C4EBE034}"/>
              </a:ext>
            </a:extLst>
          </p:cNvPr>
          <p:cNvSpPr/>
          <p:nvPr/>
        </p:nvSpPr>
        <p:spPr>
          <a:xfrm>
            <a:off x="6243245" y="1747609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C300905-B185-DDE4-04A9-F47BF14A672B}"/>
              </a:ext>
            </a:extLst>
          </p:cNvPr>
          <p:cNvSpPr/>
          <p:nvPr/>
        </p:nvSpPr>
        <p:spPr>
          <a:xfrm>
            <a:off x="6517565" y="1980990"/>
            <a:ext cx="5238778" cy="8737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Desk Booking 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3EECD67-FAAD-217D-7477-FEA528F4CCAD}"/>
              </a:ext>
            </a:extLst>
          </p:cNvPr>
          <p:cNvSpPr/>
          <p:nvPr/>
        </p:nvSpPr>
        <p:spPr>
          <a:xfrm>
            <a:off x="6556687" y="3938864"/>
            <a:ext cx="5266069" cy="30066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Show Detail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8F198C-9CB4-0EF9-F570-BE2CAD39EBEE}"/>
              </a:ext>
            </a:extLst>
          </p:cNvPr>
          <p:cNvSpPr/>
          <p:nvPr/>
        </p:nvSpPr>
        <p:spPr>
          <a:xfrm>
            <a:off x="6541132" y="3042860"/>
            <a:ext cx="2567234" cy="72629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dk1"/>
                </a:solidFill>
              </a:rPr>
              <a:t>What is your email?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A0D6169-7C0C-DF20-EBF6-B5FA0D24F986}"/>
              </a:ext>
            </a:extLst>
          </p:cNvPr>
          <p:cNvSpPr/>
          <p:nvPr/>
        </p:nvSpPr>
        <p:spPr>
          <a:xfrm>
            <a:off x="6556687" y="4328758"/>
            <a:ext cx="5279955" cy="27762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Back To Hom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59640A9-5BD0-F3AC-5748-C32D8D4883E2}"/>
              </a:ext>
            </a:extLst>
          </p:cNvPr>
          <p:cNvSpPr/>
          <p:nvPr/>
        </p:nvSpPr>
        <p:spPr>
          <a:xfrm>
            <a:off x="9091673" y="3047490"/>
            <a:ext cx="2702121" cy="72629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1068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467E6-B03F-73F5-E7EF-82777DE3F2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GB" dirty="0"/>
              <a:t>Floor Selection Scree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EFD783-D760-6E6D-FD33-3950204FD1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GB" dirty="0"/>
              <a:t>Office Selection Scree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12402E-1C9B-6A4F-818E-4C3B0CFA8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Wireframes - 2/4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1F38727-D2D2-B65F-E5BD-A16AAA70111E}"/>
              </a:ext>
            </a:extLst>
          </p:cNvPr>
          <p:cNvSpPr/>
          <p:nvPr/>
        </p:nvSpPr>
        <p:spPr>
          <a:xfrm>
            <a:off x="111760" y="1961179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368C68F-055B-19C3-726B-2C515346D827}"/>
              </a:ext>
            </a:extLst>
          </p:cNvPr>
          <p:cNvSpPr/>
          <p:nvPr/>
        </p:nvSpPr>
        <p:spPr>
          <a:xfrm>
            <a:off x="386080" y="2194560"/>
            <a:ext cx="5238778" cy="4165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Select An Off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72334BD-CEE0-51B4-C038-C5EBDF507B7F}"/>
              </a:ext>
            </a:extLst>
          </p:cNvPr>
          <p:cNvSpPr/>
          <p:nvPr/>
        </p:nvSpPr>
        <p:spPr>
          <a:xfrm>
            <a:off x="386080" y="2778908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Sheffield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AAFA141-5AFF-8DE9-D0B6-A0854CF29150}"/>
              </a:ext>
            </a:extLst>
          </p:cNvPr>
          <p:cNvSpPr/>
          <p:nvPr/>
        </p:nvSpPr>
        <p:spPr>
          <a:xfrm>
            <a:off x="386080" y="3304765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Norwich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08C6AA6-5B7B-DC9B-ED68-EFFE3851B3B2}"/>
              </a:ext>
            </a:extLst>
          </p:cNvPr>
          <p:cNvSpPr/>
          <p:nvPr/>
        </p:nvSpPr>
        <p:spPr>
          <a:xfrm>
            <a:off x="386080" y="3825944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York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C8C21F2-B2FB-1F19-054A-63C82CC572E1}"/>
              </a:ext>
            </a:extLst>
          </p:cNvPr>
          <p:cNvSpPr/>
          <p:nvPr/>
        </p:nvSpPr>
        <p:spPr>
          <a:xfrm>
            <a:off x="386080" y="4406031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Manchester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A35907-EDD2-3DEA-C431-1FC9D2E67324}"/>
              </a:ext>
            </a:extLst>
          </p:cNvPr>
          <p:cNvSpPr/>
          <p:nvPr/>
        </p:nvSpPr>
        <p:spPr>
          <a:xfrm>
            <a:off x="424447" y="4939892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Londo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E8C1AE2-53A0-3CCD-935D-2E6E75900328}"/>
              </a:ext>
            </a:extLst>
          </p:cNvPr>
          <p:cNvSpPr/>
          <p:nvPr/>
        </p:nvSpPr>
        <p:spPr>
          <a:xfrm>
            <a:off x="2946400" y="5577164"/>
            <a:ext cx="2716825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Log Out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CBEFB3A-13D2-69FA-23CB-33275C597720}"/>
              </a:ext>
            </a:extLst>
          </p:cNvPr>
          <p:cNvSpPr/>
          <p:nvPr/>
        </p:nvSpPr>
        <p:spPr>
          <a:xfrm>
            <a:off x="6238242" y="1961179"/>
            <a:ext cx="5842000" cy="433802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4DA3CFD-FC3B-4E9E-B7E9-919C17A62BD2}"/>
              </a:ext>
            </a:extLst>
          </p:cNvPr>
          <p:cNvSpPr/>
          <p:nvPr/>
        </p:nvSpPr>
        <p:spPr>
          <a:xfrm>
            <a:off x="6512562" y="2194560"/>
            <a:ext cx="5238778" cy="41656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Sheffield Office - Select A Floor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5514411-9BB2-6DBA-B76F-F745897026D8}"/>
              </a:ext>
            </a:extLst>
          </p:cNvPr>
          <p:cNvSpPr/>
          <p:nvPr/>
        </p:nvSpPr>
        <p:spPr>
          <a:xfrm>
            <a:off x="6512562" y="2778908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BC6EDAC-A0A9-9247-EE87-D58D688B8337}"/>
              </a:ext>
            </a:extLst>
          </p:cNvPr>
          <p:cNvSpPr/>
          <p:nvPr/>
        </p:nvSpPr>
        <p:spPr>
          <a:xfrm>
            <a:off x="6512562" y="3304765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76D371C-555B-11F9-17A8-D17E724E3B9D}"/>
              </a:ext>
            </a:extLst>
          </p:cNvPr>
          <p:cNvSpPr/>
          <p:nvPr/>
        </p:nvSpPr>
        <p:spPr>
          <a:xfrm>
            <a:off x="6512562" y="3825944"/>
            <a:ext cx="5238778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5C202C6E-386C-5861-FE59-303FAA188C9B}"/>
              </a:ext>
            </a:extLst>
          </p:cNvPr>
          <p:cNvSpPr/>
          <p:nvPr/>
        </p:nvSpPr>
        <p:spPr>
          <a:xfrm>
            <a:off x="9072882" y="5577164"/>
            <a:ext cx="2716825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Log Out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2E9F271F-E71D-583E-5B0A-A5FF4AEEDB20}"/>
              </a:ext>
            </a:extLst>
          </p:cNvPr>
          <p:cNvSpPr/>
          <p:nvPr/>
        </p:nvSpPr>
        <p:spPr>
          <a:xfrm>
            <a:off x="6529691" y="5577164"/>
            <a:ext cx="2425374" cy="41656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/>
              <a:t>Go Back</a:t>
            </a:r>
          </a:p>
        </p:txBody>
      </p:sp>
    </p:spTree>
    <p:extLst>
      <p:ext uri="{BB962C8B-B14F-4D97-AF65-F5344CB8AC3E}">
        <p14:creationId xmlns:p14="http://schemas.microsoft.com/office/powerpoint/2010/main" val="3660984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Aviva2021">
      <a:dk1>
        <a:srgbClr val="191919"/>
      </a:dk1>
      <a:lt1>
        <a:srgbClr val="FFFFFF"/>
      </a:lt1>
      <a:dk2>
        <a:srgbClr val="535353"/>
      </a:dk2>
      <a:lt2>
        <a:srgbClr val="00596C"/>
      </a:lt2>
      <a:accent1>
        <a:srgbClr val="39A9AD"/>
      </a:accent1>
      <a:accent2>
        <a:srgbClr val="FFD900"/>
      </a:accent2>
      <a:accent3>
        <a:srgbClr val="004FB6"/>
      </a:accent3>
      <a:accent4>
        <a:srgbClr val="33A074"/>
      </a:accent4>
      <a:accent5>
        <a:srgbClr val="FF9500"/>
      </a:accent5>
      <a:accent6>
        <a:srgbClr val="360045"/>
      </a:accent6>
      <a:hlink>
        <a:srgbClr val="004EB6"/>
      </a:hlink>
      <a:folHlink>
        <a:srgbClr val="011892"/>
      </a:folHlink>
    </a:clrScheme>
    <a:fontScheme name="Aviva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iva PowerPoint 04-2021" id="{5F7C157B-E911-DF4E-BF3F-0C497D6F27E6}" vid="{F007021D-472F-8E40-B239-FF94F7C5CFD0}"/>
    </a:ext>
  </a:extLst>
</a:theme>
</file>

<file path=ppt/theme/theme2.xml><?xml version="1.0" encoding="utf-8"?>
<a:theme xmlns:a="http://schemas.openxmlformats.org/drawingml/2006/main" name="Dark teal content slides">
  <a:themeElements>
    <a:clrScheme name="Custom 2">
      <a:dk1>
        <a:srgbClr val="191919"/>
      </a:dk1>
      <a:lt1>
        <a:srgbClr val="FFFFFF"/>
      </a:lt1>
      <a:dk2>
        <a:srgbClr val="535353"/>
      </a:dk2>
      <a:lt2>
        <a:srgbClr val="00596C"/>
      </a:lt2>
      <a:accent1>
        <a:srgbClr val="39A9AD"/>
      </a:accent1>
      <a:accent2>
        <a:srgbClr val="FFD900"/>
      </a:accent2>
      <a:accent3>
        <a:srgbClr val="004FB6"/>
      </a:accent3>
      <a:accent4>
        <a:srgbClr val="33A074"/>
      </a:accent4>
      <a:accent5>
        <a:srgbClr val="FF9500"/>
      </a:accent5>
      <a:accent6>
        <a:srgbClr val="360045"/>
      </a:accent6>
      <a:hlink>
        <a:srgbClr val="004EB6"/>
      </a:hlink>
      <a:folHlink>
        <a:srgbClr val="011892"/>
      </a:folHlink>
    </a:clrScheme>
    <a:fontScheme name="Aviva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iva PowerPoint 04-2021" id="{5F7C157B-E911-DF4E-BF3F-0C497D6F27E6}" vid="{B7D867E3-D0A6-1D45-B739-64F753AD72C9}"/>
    </a:ext>
  </a:extLst>
</a:theme>
</file>

<file path=ppt/theme/theme3.xml><?xml version="1.0" encoding="utf-8"?>
<a:theme xmlns:a="http://schemas.openxmlformats.org/drawingml/2006/main" name="1_Dark teal content slides">
  <a:themeElements>
    <a:clrScheme name="Custom 2">
      <a:dk1>
        <a:srgbClr val="191919"/>
      </a:dk1>
      <a:lt1>
        <a:srgbClr val="FFFFFF"/>
      </a:lt1>
      <a:dk2>
        <a:srgbClr val="535353"/>
      </a:dk2>
      <a:lt2>
        <a:srgbClr val="00596C"/>
      </a:lt2>
      <a:accent1>
        <a:srgbClr val="39A9AD"/>
      </a:accent1>
      <a:accent2>
        <a:srgbClr val="FFD900"/>
      </a:accent2>
      <a:accent3>
        <a:srgbClr val="004FB6"/>
      </a:accent3>
      <a:accent4>
        <a:srgbClr val="33A074"/>
      </a:accent4>
      <a:accent5>
        <a:srgbClr val="FF9500"/>
      </a:accent5>
      <a:accent6>
        <a:srgbClr val="360045"/>
      </a:accent6>
      <a:hlink>
        <a:srgbClr val="004EB6"/>
      </a:hlink>
      <a:folHlink>
        <a:srgbClr val="011892"/>
      </a:folHlink>
    </a:clrScheme>
    <a:fontScheme name="Aviva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iva PowerPoint 04-2021" id="{5F7C157B-E911-DF4E-BF3F-0C497D6F27E6}" vid="{B7D867E3-D0A6-1D45-B739-64F753AD72C9}"/>
    </a:ext>
  </a:extLst>
</a:theme>
</file>

<file path=ppt/theme/theme4.xml><?xml version="1.0" encoding="utf-8"?>
<a:theme xmlns:a="http://schemas.openxmlformats.org/drawingml/2006/main" name="2_Dark teal content slides">
  <a:themeElements>
    <a:clrScheme name="Custom 2">
      <a:dk1>
        <a:srgbClr val="191919"/>
      </a:dk1>
      <a:lt1>
        <a:srgbClr val="FFFFFF"/>
      </a:lt1>
      <a:dk2>
        <a:srgbClr val="535353"/>
      </a:dk2>
      <a:lt2>
        <a:srgbClr val="00596C"/>
      </a:lt2>
      <a:accent1>
        <a:srgbClr val="39A9AD"/>
      </a:accent1>
      <a:accent2>
        <a:srgbClr val="FFD900"/>
      </a:accent2>
      <a:accent3>
        <a:srgbClr val="004FB6"/>
      </a:accent3>
      <a:accent4>
        <a:srgbClr val="33A074"/>
      </a:accent4>
      <a:accent5>
        <a:srgbClr val="FF9500"/>
      </a:accent5>
      <a:accent6>
        <a:srgbClr val="360045"/>
      </a:accent6>
      <a:hlink>
        <a:srgbClr val="004EB6"/>
      </a:hlink>
      <a:folHlink>
        <a:srgbClr val="011892"/>
      </a:folHlink>
    </a:clrScheme>
    <a:fontScheme name="Aviva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iva PowerPoint 05-2021-150" id="{DACBBC10-04C0-134E-96CF-C5BE2AC303B3}" vid="{7551C889-75EE-9048-ADAC-719A1C65CF69}"/>
    </a:ext>
  </a:extLst>
</a:theme>
</file>

<file path=ppt/theme/theme5.xml><?xml version="1.0" encoding="utf-8"?>
<a:theme xmlns:a="http://schemas.openxmlformats.org/drawingml/2006/main" name="3_Dark teal content slides">
  <a:themeElements>
    <a:clrScheme name="Custom 2">
      <a:dk1>
        <a:srgbClr val="191919"/>
      </a:dk1>
      <a:lt1>
        <a:srgbClr val="FFFFFF"/>
      </a:lt1>
      <a:dk2>
        <a:srgbClr val="535353"/>
      </a:dk2>
      <a:lt2>
        <a:srgbClr val="00596C"/>
      </a:lt2>
      <a:accent1>
        <a:srgbClr val="39A9AD"/>
      </a:accent1>
      <a:accent2>
        <a:srgbClr val="FFD900"/>
      </a:accent2>
      <a:accent3>
        <a:srgbClr val="004FB6"/>
      </a:accent3>
      <a:accent4>
        <a:srgbClr val="33A074"/>
      </a:accent4>
      <a:accent5>
        <a:srgbClr val="FF9500"/>
      </a:accent5>
      <a:accent6>
        <a:srgbClr val="360045"/>
      </a:accent6>
      <a:hlink>
        <a:srgbClr val="004EB6"/>
      </a:hlink>
      <a:folHlink>
        <a:srgbClr val="011892"/>
      </a:folHlink>
    </a:clrScheme>
    <a:fontScheme name="Aviva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iva template April 2021" id="{8ED2FE16-4EB9-4DCC-A8E1-5C4B9AD2F035}" vid="{F95A8630-CDD3-49BB-85CC-5B39438237D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62</TotalTime>
  <Words>1496</Words>
  <Application>Microsoft Office PowerPoint</Application>
  <PresentationFormat>Widescreen</PresentationFormat>
  <Paragraphs>286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rial</vt:lpstr>
      <vt:lpstr>Calibri</vt:lpstr>
      <vt:lpstr>NewsGoth BT</vt:lpstr>
      <vt:lpstr>Source Sans Pro</vt:lpstr>
      <vt:lpstr>Times New Roman</vt:lpstr>
      <vt:lpstr>Cover slides</vt:lpstr>
      <vt:lpstr>Dark teal content slides</vt:lpstr>
      <vt:lpstr>1_Dark teal content slides</vt:lpstr>
      <vt:lpstr>2_Dark teal content slides</vt:lpstr>
      <vt:lpstr>3_Dark teal content slides</vt:lpstr>
      <vt:lpstr>think-cell Slide</vt:lpstr>
      <vt:lpstr>PowerPoint Presentation</vt:lpstr>
      <vt:lpstr>The Problem – Office Attendance</vt:lpstr>
      <vt:lpstr>Stakeholder Management</vt:lpstr>
      <vt:lpstr>How our colleagues are feeling</vt:lpstr>
      <vt:lpstr>Focus Group Initial Requirements</vt:lpstr>
      <vt:lpstr>MoSCoW Prioritisation</vt:lpstr>
      <vt:lpstr>Software Requirements</vt:lpstr>
      <vt:lpstr>App Wireframes – 1/4</vt:lpstr>
      <vt:lpstr>App Wireframes - 2/4</vt:lpstr>
      <vt:lpstr>App Wireframes - 3/4</vt:lpstr>
      <vt:lpstr>App Wireframes - 4/4</vt:lpstr>
      <vt:lpstr>Dependencies &amp; Requirements</vt:lpstr>
      <vt:lpstr>Development &amp; Deployment Process</vt:lpstr>
      <vt:lpstr>User Stories + Planning Poker Scores 1/3</vt:lpstr>
      <vt:lpstr>User Stories + Planning Poker Scores 2/3</vt:lpstr>
      <vt:lpstr>User Stories + Planning Poker Scores 3/3</vt:lpstr>
      <vt:lpstr>Project Pla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Kellegher</dc:creator>
  <cp:lastModifiedBy>Bradley Allen</cp:lastModifiedBy>
  <cp:revision>77</cp:revision>
  <dcterms:created xsi:type="dcterms:W3CDTF">2022-06-27T15:08:46Z</dcterms:created>
  <dcterms:modified xsi:type="dcterms:W3CDTF">2023-12-13T13:4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a529c82-80a7-4af8-a184-cafecd64a441_Enabled">
    <vt:lpwstr>true</vt:lpwstr>
  </property>
  <property fmtid="{D5CDD505-2E9C-101B-9397-08002B2CF9AE}" pid="3" name="MSIP_Label_6a529c82-80a7-4af8-a184-cafecd64a441_SetDate">
    <vt:lpwstr>2023-11-06T10:58:12Z</vt:lpwstr>
  </property>
  <property fmtid="{D5CDD505-2E9C-101B-9397-08002B2CF9AE}" pid="4" name="MSIP_Label_6a529c82-80a7-4af8-a184-cafecd64a441_Method">
    <vt:lpwstr>Privileged</vt:lpwstr>
  </property>
  <property fmtid="{D5CDD505-2E9C-101B-9397-08002B2CF9AE}" pid="5" name="MSIP_Label_6a529c82-80a7-4af8-a184-cafecd64a441_Name">
    <vt:lpwstr>Confidential</vt:lpwstr>
  </property>
  <property fmtid="{D5CDD505-2E9C-101B-9397-08002B2CF9AE}" pid="6" name="MSIP_Label_6a529c82-80a7-4af8-a184-cafecd64a441_SiteId">
    <vt:lpwstr>42d0d02d-6286-465e-999b-31006231efb1</vt:lpwstr>
  </property>
  <property fmtid="{D5CDD505-2E9C-101B-9397-08002B2CF9AE}" pid="7" name="MSIP_Label_6a529c82-80a7-4af8-a184-cafecd64a441_ActionId">
    <vt:lpwstr>7bc7792a-80f0-42a3-99d6-f6ea1f881043</vt:lpwstr>
  </property>
  <property fmtid="{D5CDD505-2E9C-101B-9397-08002B2CF9AE}" pid="8" name="MSIP_Label_6a529c82-80a7-4af8-a184-cafecd64a441_ContentBits">
    <vt:lpwstr>2</vt:lpwstr>
  </property>
  <property fmtid="{D5CDD505-2E9C-101B-9397-08002B2CF9AE}" pid="9" name="x-AvivaClassification">
    <vt:lpwstr>Aviva-Confidentia1</vt:lpwstr>
  </property>
  <property fmtid="{D5CDD505-2E9C-101B-9397-08002B2CF9AE}" pid="10" name="AvivaClassification">
    <vt:lpwstr>Aviva-Confidentia1</vt:lpwstr>
  </property>
</Properties>
</file>